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Masters/notesMaster1.xml" ContentType="application/vnd.openxmlformats-officedocument.presentationml.notesMaster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theme/theme2.xml" ContentType="application/vnd.openxmlformats-officedocument.theme+xml"/>
  <Override PartName="/ppt/authors.xml" ContentType="application/vnd.ms-powerpoint.authors+xml"/>
  <Override PartName="/ppt/commentAuthors.xml" ContentType="application/vnd.openxmlformats-officedocument.presentationml.commentAuthor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38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39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50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51.xml" ContentType="application/vnd.openxmlformats-officedocument.presentationml.tags+xml"/>
  <Override PartName="/ppt/tags/tag7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17"/>
  </p:notesMasterIdLst>
  <p:sldIdLst>
    <p:sldId id="264" r:id="rId2"/>
    <p:sldId id="261" r:id="rId3"/>
    <p:sldId id="315" r:id="rId4"/>
    <p:sldId id="305" r:id="rId5"/>
    <p:sldId id="306" r:id="rId6"/>
    <p:sldId id="307" r:id="rId7"/>
    <p:sldId id="308" r:id="rId8"/>
    <p:sldId id="309" r:id="rId9"/>
    <p:sldId id="310" r:id="rId10"/>
    <p:sldId id="312" r:id="rId11"/>
    <p:sldId id="316" r:id="rId12"/>
    <p:sldId id="313" r:id="rId13"/>
    <p:sldId id="314" r:id="rId14"/>
    <p:sldId id="291" r:id="rId15"/>
    <p:sldId id="273" r:id="rId16"/>
  </p:sldIdLst>
  <p:sldSz cx="9144000" cy="6858000" type="screen4x3"/>
  <p:notesSz cx="6858000" cy="9144000"/>
  <p:custDataLst>
    <p:tags r:id="rId1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0AA4D41-048F-A94C-A321-8E33C40A0504}">
          <p14:sldIdLst>
            <p14:sldId id="264"/>
            <p14:sldId id="261"/>
            <p14:sldId id="315"/>
            <p14:sldId id="305"/>
            <p14:sldId id="306"/>
            <p14:sldId id="307"/>
            <p14:sldId id="308"/>
            <p14:sldId id="309"/>
            <p14:sldId id="310"/>
            <p14:sldId id="312"/>
            <p14:sldId id="316"/>
            <p14:sldId id="313"/>
            <p14:sldId id="314"/>
            <p14:sldId id="291"/>
            <p14:sldId id="273"/>
          </p14:sldIdLst>
        </p14:section>
        <p14:section name="OTHER SLIDES" id="{83FFE285-0302-F54F-98CD-D86F7E35910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CB21F30-DCAB-6CEF-6ABD-E3896835E96A}" name="Kenneth Olliff" initials="KO" userId="S::kenneth.a.olliff@slu.edu::1c791430-3a00-4571-80fd-0255561bd11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my Breuer" initials="AB" lastIdx="2" clrIdx="0">
    <p:extLst>
      <p:ext uri="{19B8F6BF-5375-455C-9EA6-DF929625EA0E}">
        <p15:presenceInfo xmlns:p15="http://schemas.microsoft.com/office/powerpoint/2012/main" userId="S::amy.breuer@slu.edu::2b57367e-b40f-4768-9720-3453c7e01e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3E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27"/>
    <p:restoredTop sz="95226" autoAdjust="0"/>
  </p:normalViewPr>
  <p:slideViewPr>
    <p:cSldViewPr snapToGrid="0" snapToObjects="1">
      <p:cViewPr varScale="1">
        <p:scale>
          <a:sx n="86" d="100"/>
          <a:sy n="86" d="100"/>
        </p:scale>
        <p:origin x="1478" y="5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26" Type="http://schemas.openxmlformats.org/officeDocument/2006/relationships/customXml" Target="../customXml/item2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customXml" Target="../customXml/item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Relationship Id="rId27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050703303892698E-3"/>
          <c:y val="1.8150087260034906E-2"/>
          <c:w val="0.98298985933922145"/>
          <c:h val="0.9636998254799301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9616055846422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837-418F-B147-08C96D1A00C6}"/>
                </c:ext>
              </c:extLst>
            </c:dLbl>
            <c:dLbl>
              <c:idx val="1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837-418F-B147-08C96D1A00C6}"/>
                </c:ext>
              </c:extLst>
            </c:dLbl>
            <c:dLbl>
              <c:idx val="2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837-418F-B147-08C96D1A00C6}"/>
                </c:ext>
              </c:extLst>
            </c:dLbl>
            <c:dLbl>
              <c:idx val="3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837-418F-B147-08C96D1A00C6}"/>
                </c:ext>
              </c:extLst>
            </c:dLbl>
            <c:dLbl>
              <c:idx val="4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#,##0;"-"#,##0</c:formatCode>
                <c:ptCount val="5"/>
                <c:pt idx="0">
                  <c:v>9015</c:v>
                </c:pt>
                <c:pt idx="1">
                  <c:v>10285</c:v>
                </c:pt>
                <c:pt idx="2">
                  <c:v>9788</c:v>
                </c:pt>
                <c:pt idx="3">
                  <c:v>17550</c:v>
                </c:pt>
                <c:pt idx="4">
                  <c:v>12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837-418F-B147-08C96D1A00C6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9616055846422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837-418F-B147-08C96D1A00C6}"/>
                </c:ext>
              </c:extLst>
            </c:dLbl>
            <c:dLbl>
              <c:idx val="1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837-418F-B147-08C96D1A00C6}"/>
                </c:ext>
              </c:extLst>
            </c:dLbl>
            <c:dLbl>
              <c:idx val="2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837-418F-B147-08C96D1A00C6}"/>
                </c:ext>
              </c:extLst>
            </c:dLbl>
            <c:dLbl>
              <c:idx val="3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837-418F-B147-08C96D1A00C6}"/>
                </c:ext>
              </c:extLst>
            </c:dLbl>
            <c:dLbl>
              <c:idx val="4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#,##0;"-"#,##0</c:formatCode>
                <c:ptCount val="5"/>
                <c:pt idx="0">
                  <c:v>4928</c:v>
                </c:pt>
                <c:pt idx="1">
                  <c:v>5009</c:v>
                </c:pt>
                <c:pt idx="2">
                  <c:v>4207</c:v>
                </c:pt>
                <c:pt idx="3">
                  <c:v>4859</c:v>
                </c:pt>
                <c:pt idx="4">
                  <c:v>3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C837-418F-B147-08C96D1A00C6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C837-418F-B147-08C96D1A00C6}"/>
                </c:ext>
              </c:extLst>
            </c:dLbl>
            <c:dLbl>
              <c:idx val="1"/>
              <c:layout>
                <c:manualLayout>
                  <c:x val="0"/>
                  <c:y val="-1.39616055846422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C837-418F-B147-08C96D1A00C6}"/>
                </c:ext>
              </c:extLst>
            </c:dLbl>
            <c:dLbl>
              <c:idx val="2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837-418F-B147-08C96D1A00C6}"/>
                </c:ext>
              </c:extLst>
            </c:dLbl>
            <c:dLbl>
              <c:idx val="3"/>
              <c:layout>
                <c:manualLayout>
                  <c:x val="0"/>
                  <c:y val="-1.39616055846422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C837-418F-B147-08C96D1A00C6}"/>
                </c:ext>
              </c:extLst>
            </c:dLbl>
            <c:dLbl>
              <c:idx val="4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#,##0;"-"#,##0</c:formatCode>
                <c:ptCount val="5"/>
                <c:pt idx="0">
                  <c:v>4928</c:v>
                </c:pt>
                <c:pt idx="1">
                  <c:v>5640</c:v>
                </c:pt>
                <c:pt idx="2">
                  <c:v>5312</c:v>
                </c:pt>
                <c:pt idx="3">
                  <c:v>5844</c:v>
                </c:pt>
                <c:pt idx="4">
                  <c:v>6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C837-418F-B147-08C96D1A00C6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396160558464223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C837-418F-B147-08C96D1A00C6}"/>
                </c:ext>
              </c:extLst>
            </c:dLbl>
            <c:dLbl>
              <c:idx val="1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C837-418F-B147-08C96D1A00C6}"/>
                </c:ext>
              </c:extLst>
            </c:dLbl>
            <c:dLbl>
              <c:idx val="2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C837-418F-B147-08C96D1A00C6}"/>
                </c:ext>
              </c:extLst>
            </c:dLbl>
            <c:dLbl>
              <c:idx val="3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C837-418F-B147-08C96D1A00C6}"/>
                </c:ext>
              </c:extLst>
            </c:dLbl>
            <c:dLbl>
              <c:idx val="4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#,##0;"-"#,##0</c:formatCode>
                <c:ptCount val="5"/>
                <c:pt idx="0">
                  <c:v>3640</c:v>
                </c:pt>
                <c:pt idx="1">
                  <c:v>3556</c:v>
                </c:pt>
                <c:pt idx="2">
                  <c:v>4498</c:v>
                </c:pt>
                <c:pt idx="3">
                  <c:v>3526</c:v>
                </c:pt>
                <c:pt idx="4">
                  <c:v>3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C837-418F-B147-08C96D1A00C6}"/>
            </c:ext>
          </c:extLst>
        </c:ser>
        <c:ser>
          <c:idx val="4"/>
          <c:order val="4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C837-418F-B147-08C96D1A00C6}"/>
                </c:ext>
              </c:extLst>
            </c:dLbl>
            <c:dLbl>
              <c:idx val="1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C837-418F-B147-08C96D1A00C6}"/>
                </c:ext>
              </c:extLst>
            </c:dLbl>
            <c:dLbl>
              <c:idx val="2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C837-418F-B147-08C96D1A00C6}"/>
                </c:ext>
              </c:extLst>
            </c:dLbl>
            <c:dLbl>
              <c:idx val="3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C837-418F-B147-08C96D1A00C6}"/>
                </c:ext>
              </c:extLst>
            </c:dLbl>
            <c:dLbl>
              <c:idx val="4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#,##0;"-"#,##0</c:formatCode>
                <c:ptCount val="5"/>
                <c:pt idx="0">
                  <c:v>2255</c:v>
                </c:pt>
                <c:pt idx="1">
                  <c:v>2580</c:v>
                </c:pt>
                <c:pt idx="2">
                  <c:v>2573</c:v>
                </c:pt>
                <c:pt idx="3">
                  <c:v>1593</c:v>
                </c:pt>
                <c:pt idx="4">
                  <c:v>2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C837-418F-B147-08C96D1A00C6}"/>
            </c:ext>
          </c:extLst>
        </c:ser>
        <c:ser>
          <c:idx val="5"/>
          <c:order val="5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2.7314360484134773E-2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C837-418F-B147-08C96D1A00C6}"/>
                </c:ext>
              </c:extLst>
            </c:dLbl>
            <c:dLbl>
              <c:idx val="1"/>
              <c:layout>
                <c:manualLayout>
                  <c:x val="-2.7314360484134773E-2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C837-418F-B147-08C96D1A00C6}"/>
                </c:ext>
              </c:extLst>
            </c:dLbl>
            <c:dLbl>
              <c:idx val="2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C837-418F-B147-08C96D1A00C6}"/>
                </c:ext>
              </c:extLst>
            </c:dLbl>
            <c:dLbl>
              <c:idx val="3"/>
              <c:layout>
                <c:manualLayout>
                  <c:x val="0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C837-418F-B147-08C96D1A00C6}"/>
                </c:ext>
              </c:extLst>
            </c:dLbl>
            <c:dLbl>
              <c:idx val="4"/>
              <c:layout>
                <c:manualLayout>
                  <c:x val="-2.7314360484134773E-2"/>
                  <c:y val="-1.047120418848167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#,##0;"-"#,##0</c:formatCode>
                <c:ptCount val="5"/>
                <c:pt idx="0">
                  <c:v>1664</c:v>
                </c:pt>
                <c:pt idx="1">
                  <c:v>1544</c:v>
                </c:pt>
                <c:pt idx="2">
                  <c:v>2250</c:v>
                </c:pt>
                <c:pt idx="3">
                  <c:v>2394</c:v>
                </c:pt>
                <c:pt idx="4">
                  <c:v>2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C837-418F-B147-08C96D1A00C6}"/>
            </c:ext>
          </c:extLst>
        </c:ser>
        <c:ser>
          <c:idx val="6"/>
          <c:order val="6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7:$E$7</c:f>
              <c:numCache>
                <c:formatCode>General</c:formatCode>
                <c:ptCount val="5"/>
                <c:pt idx="0">
                  <c:v>914</c:v>
                </c:pt>
                <c:pt idx="1">
                  <c:v>789</c:v>
                </c:pt>
                <c:pt idx="2">
                  <c:v>735</c:v>
                </c:pt>
                <c:pt idx="3">
                  <c:v>694</c:v>
                </c:pt>
                <c:pt idx="4">
                  <c:v>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C837-418F-B147-08C96D1A00C6}"/>
            </c:ext>
          </c:extLst>
        </c:ser>
        <c:ser>
          <c:idx val="7"/>
          <c:order val="7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2"/>
              <c:layout>
                <c:manualLayout>
                  <c:x val="7.3438011122015048E-2"/>
                  <c:y val="6.59685863874345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E$8</c:f>
              <c:numCache>
                <c:formatCode>General</c:formatCode>
                <c:ptCount val="5"/>
                <c:pt idx="0">
                  <c:v>516</c:v>
                </c:pt>
                <c:pt idx="1">
                  <c:v>451</c:v>
                </c:pt>
                <c:pt idx="2" formatCode="#,##0;&quot;-&quot;#,##0">
                  <c:v>231</c:v>
                </c:pt>
                <c:pt idx="3">
                  <c:v>2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C837-418F-B147-08C96D1A00C6}"/>
            </c:ext>
          </c:extLst>
        </c:ser>
        <c:ser>
          <c:idx val="8"/>
          <c:order val="8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3438011122015048E-2"/>
                  <c:y val="6.94589877835951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C837-418F-B147-08C96D1A00C6}"/>
                </c:ext>
              </c:extLst>
            </c:dLbl>
            <c:dLbl>
              <c:idx val="1"/>
              <c:layout>
                <c:manualLayout>
                  <c:x val="7.3438011122015048E-2"/>
                  <c:y val="7.08551483420593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C837-418F-B147-08C96D1A00C6}"/>
                </c:ext>
              </c:extLst>
            </c:dLbl>
            <c:dLbl>
              <c:idx val="2"/>
              <c:layout>
                <c:manualLayout>
                  <c:x val="7.3438011122015048E-2"/>
                  <c:y val="2.8970331588132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C837-418F-B147-08C96D1A00C6}"/>
                </c:ext>
              </c:extLst>
            </c:dLbl>
            <c:dLbl>
              <c:idx val="3"/>
              <c:layout>
                <c:manualLayout>
                  <c:x val="6.8858357867190051E-2"/>
                  <c:y val="0.12181500872600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C837-418F-B147-08C96D1A00C6}"/>
                </c:ext>
              </c:extLst>
            </c:dLbl>
            <c:dLbl>
              <c:idx val="4"/>
              <c:layout>
                <c:manualLayout>
                  <c:x val="6.8858357867190051E-2"/>
                  <c:y val="3.17626527050610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:$E$9</c:f>
              <c:numCache>
                <c:formatCode>#,##0;"-"#,##0</c:formatCode>
                <c:ptCount val="5"/>
                <c:pt idx="0">
                  <c:v>437</c:v>
                </c:pt>
                <c:pt idx="1">
                  <c:v>205</c:v>
                </c:pt>
                <c:pt idx="2">
                  <c:v>159</c:v>
                </c:pt>
                <c:pt idx="3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C-C837-418F-B147-08C96D1A00C6}"/>
            </c:ext>
          </c:extLst>
        </c:ser>
        <c:ser>
          <c:idx val="9"/>
          <c:order val="9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3438011122015048E-2"/>
                  <c:y val="3.804537521815008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C837-418F-B147-08C96D1A00C6}"/>
                </c:ext>
              </c:extLst>
            </c:dLbl>
            <c:dLbl>
              <c:idx val="1"/>
              <c:layout>
                <c:manualLayout>
                  <c:x val="7.3438011122015048E-2"/>
                  <c:y val="3.595113438045375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C837-418F-B147-08C96D1A00C6}"/>
                </c:ext>
              </c:extLst>
            </c:dLbl>
            <c:dLbl>
              <c:idx val="3"/>
              <c:layout>
                <c:manualLayout>
                  <c:x val="6.8858357867190051E-2"/>
                  <c:y val="8.167539267015706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:$E$10</c:f>
              <c:numCache>
                <c:formatCode>#,##0;"-"#,##0</c:formatCode>
                <c:ptCount val="5"/>
                <c:pt idx="0">
                  <c:v>397</c:v>
                </c:pt>
                <c:pt idx="1">
                  <c:v>361</c:v>
                </c:pt>
                <c:pt idx="2" formatCode="General">
                  <c:v>244</c:v>
                </c:pt>
                <c:pt idx="3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C837-418F-B147-08C96D1A00C6}"/>
            </c:ext>
          </c:extLst>
        </c:ser>
        <c:ser>
          <c:idx val="10"/>
          <c:order val="10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3438011122015048E-2"/>
                  <c:y val="4.188481675392670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1-C837-418F-B147-08C96D1A00C6}"/>
                </c:ext>
              </c:extLst>
            </c:dLbl>
            <c:dLbl>
              <c:idx val="1"/>
              <c:layout>
                <c:manualLayout>
                  <c:x val="7.3438011122015048E-2"/>
                  <c:y val="3.1413612565445027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2-C837-418F-B147-08C96D1A00C6}"/>
                </c:ext>
              </c:extLst>
            </c:dLbl>
            <c:dLbl>
              <c:idx val="2"/>
              <c:layout>
                <c:manualLayout>
                  <c:x val="7.3438011122015048E-2"/>
                  <c:y val="1.7452006980802793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3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1:$E$11</c:f>
              <c:numCache>
                <c:formatCode>#,##0;"-"#,##0</c:formatCode>
                <c:ptCount val="5"/>
                <c:pt idx="0">
                  <c:v>255</c:v>
                </c:pt>
                <c:pt idx="1">
                  <c:v>354</c:v>
                </c:pt>
                <c:pt idx="2">
                  <c:v>543</c:v>
                </c:pt>
                <c:pt idx="3" formatCode="General">
                  <c:v>619</c:v>
                </c:pt>
                <c:pt idx="4" formatCode="General">
                  <c:v>7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4-C837-418F-B147-08C96D1A00C6}"/>
            </c:ext>
          </c:extLst>
        </c:ser>
        <c:ser>
          <c:idx val="11"/>
          <c:order val="1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3438011122015048E-2"/>
                  <c:y val="-3.28097731239092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5-C837-418F-B147-08C96D1A00C6}"/>
                </c:ext>
              </c:extLst>
            </c:dLbl>
            <c:dLbl>
              <c:idx val="1"/>
              <c:layout>
                <c:manualLayout>
                  <c:x val="7.3438011122015048E-2"/>
                  <c:y val="-3.28097731239092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6-C837-418F-B147-08C96D1A00C6}"/>
                </c:ext>
              </c:extLst>
            </c:dLbl>
            <c:dLbl>
              <c:idx val="2"/>
              <c:layout>
                <c:manualLayout>
                  <c:x val="7.3438011122015048E-2"/>
                  <c:y val="-3.00174520069808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7-C837-418F-B147-08C96D1A00C6}"/>
                </c:ext>
              </c:extLst>
            </c:dLbl>
            <c:dLbl>
              <c:idx val="3"/>
              <c:layout>
                <c:manualLayout>
                  <c:x val="7.3438011122015048E-2"/>
                  <c:y val="5.2006980802792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8-C837-418F-B147-08C96D1A00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2:$E$12</c:f>
              <c:numCache>
                <c:formatCode>#,##0;"-"#,##0</c:formatCode>
                <c:ptCount val="5"/>
                <c:pt idx="0">
                  <c:v>160</c:v>
                </c:pt>
                <c:pt idx="1">
                  <c:v>136</c:v>
                </c:pt>
                <c:pt idx="2">
                  <c:v>249</c:v>
                </c:pt>
                <c:pt idx="3">
                  <c:v>191</c:v>
                </c:pt>
                <c:pt idx="4">
                  <c:v>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9-C837-418F-B147-08C96D1A00C6}"/>
            </c:ext>
          </c:extLst>
        </c:ser>
        <c:ser>
          <c:idx val="12"/>
          <c:order val="12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3:$E$13</c:f>
              <c:numCache>
                <c:formatCode>General</c:formatCode>
                <c:ptCount val="5"/>
                <c:pt idx="0" formatCode="#,##0;&quot;-&quot;#,##0">
                  <c:v>101</c:v>
                </c:pt>
                <c:pt idx="1">
                  <c:v>16</c:v>
                </c:pt>
                <c:pt idx="2" formatCode="#,##0;&quot;-&quot;#,##0">
                  <c:v>47</c:v>
                </c:pt>
                <c:pt idx="3" formatCode="#,##0;&quot;-&quot;#,##0">
                  <c:v>33</c:v>
                </c:pt>
                <c:pt idx="4" formatCode="#,##0;&quot;-&quot;#,##0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A-C837-418F-B147-08C96D1A00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79720575"/>
        <c:axId val="1"/>
      </c:barChart>
      <c:catAx>
        <c:axId val="9797205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7451"/>
          <c:min val="0"/>
        </c:scaling>
        <c:delete val="1"/>
        <c:axPos val="l"/>
        <c:numFmt formatCode="#,##0;&quot;-&quot;#,##0" sourceLinked="1"/>
        <c:majorTickMark val="out"/>
        <c:minorTickMark val="none"/>
        <c:tickLblPos val="nextTo"/>
        <c:crossAx val="9797205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F60A2C-B952-BE4D-B3FB-2A3BC27FC010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935549-7BC4-3B4F-BA8E-5135FA6EF0F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933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497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1526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159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2371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440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622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961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639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61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134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523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508A42-C27C-204B-8411-EDC7466B5E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836766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508A42-C27C-204B-8411-EDC7466B5E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56B420-2589-5648-9F39-B4B57ADB4D12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85298A-5451-C54F-BBDA-CE0945AD83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494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4.xml"/><Relationship Id="rId5" Type="http://schemas.openxmlformats.org/officeDocument/2006/relationships/image" Target="../media/image10.png"/><Relationship Id="rId4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chart" Target="../charts/chart1.xml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slideLayout" Target="../slideLayouts/slideLayout2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image" Target="../media/image5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71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logo&#10;&#10;Description automatically generated">
            <a:extLst>
              <a:ext uri="{FF2B5EF4-FFF2-40B4-BE49-F238E27FC236}">
                <a16:creationId xmlns:a16="http://schemas.microsoft.com/office/drawing/2014/main" id="{18D286D8-5138-8F41-97CC-5B4E200735B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37104"/>
            <a:ext cx="10160079" cy="441827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C768C6-62D4-4581-8B71-5737880F8F8C}"/>
              </a:ext>
            </a:extLst>
          </p:cNvPr>
          <p:cNvSpPr txBox="1"/>
          <p:nvPr/>
        </p:nvSpPr>
        <p:spPr>
          <a:xfrm>
            <a:off x="1682748" y="5089899"/>
            <a:ext cx="5827082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chool of Medicine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</a:rPr>
              <a:t>Transformational Growth</a:t>
            </a:r>
          </a:p>
        </p:txBody>
      </p:sp>
    </p:spTree>
    <p:extLst>
      <p:ext uri="{BB962C8B-B14F-4D97-AF65-F5344CB8AC3E}">
        <p14:creationId xmlns:p14="http://schemas.microsoft.com/office/powerpoint/2010/main" val="42138546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AF1854B8-61F8-67FA-DB8C-3B6E2E38225F}"/>
              </a:ext>
            </a:extLst>
          </p:cNvPr>
          <p:cNvSpPr txBox="1"/>
          <p:nvPr/>
        </p:nvSpPr>
        <p:spPr>
          <a:xfrm rot="19165964">
            <a:off x="2818453" y="3243257"/>
            <a:ext cx="379952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DRAF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Draft Strategic Plan for Research - SO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B269DD-BF4F-3C26-5108-7452AEAB7CAD}"/>
              </a:ext>
            </a:extLst>
          </p:cNvPr>
          <p:cNvSpPr txBox="1"/>
          <p:nvPr/>
        </p:nvSpPr>
        <p:spPr>
          <a:xfrm>
            <a:off x="7813723" y="6540437"/>
            <a:ext cx="12054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+mj-lt"/>
              </a:rPr>
              <a:t>v. 09/22/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CD89B3-9D4E-AEBC-AD36-9E53074CE9F6}"/>
              </a:ext>
            </a:extLst>
          </p:cNvPr>
          <p:cNvSpPr txBox="1"/>
          <p:nvPr/>
        </p:nvSpPr>
        <p:spPr>
          <a:xfrm>
            <a:off x="355108" y="1765930"/>
            <a:ext cx="8726218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53EA5"/>
                </a:solidFill>
                <a:latin typeface="+mj-lt"/>
              </a:rPr>
              <a:t>OBJECTIVES:</a:t>
            </a:r>
          </a:p>
          <a:p>
            <a:endParaRPr lang="en-US" sz="2000" b="1" dirty="0">
              <a:solidFill>
                <a:srgbClr val="053EA5"/>
              </a:solidFill>
              <a:latin typeface="+mj-lt"/>
            </a:endParaRPr>
          </a:p>
          <a:p>
            <a:endParaRPr lang="en-US" sz="20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1. Establish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MENTORING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and education for junior researchers.</a:t>
            </a:r>
          </a:p>
          <a:p>
            <a:pPr marL="257175" indent="-257175">
              <a:buAutoNum type="arabicPeriod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2.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IMPROVE THE ENVIRONMENT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or research, including policies and a research infrastructure that fosters collaboration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3. Substantially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INCREAS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extramural funding within 5 years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4.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INCREAS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basic, translational, and clinical research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5.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DECREASE APPROVAL TIM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or feasible proposals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4F0A00-DDEE-2593-C396-36350C8EED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133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4284D435-051D-ABAC-69CB-0B5D2E662387}"/>
              </a:ext>
            </a:extLst>
          </p:cNvPr>
          <p:cNvSpPr txBox="1"/>
          <p:nvPr/>
        </p:nvSpPr>
        <p:spPr>
          <a:xfrm rot="19165964">
            <a:off x="2818453" y="3243257"/>
            <a:ext cx="379952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dirty="0">
                <a:solidFill>
                  <a:schemeClr val="bg1">
                    <a:lumMod val="95000"/>
                  </a:schemeClr>
                </a:solidFill>
                <a:latin typeface="Arial Narrow" panose="020B0606020202030204" pitchFamily="34" charset="0"/>
              </a:rPr>
              <a:t>DRAF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Draft Strategic Plan for Research - SO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B269DD-BF4F-3C26-5108-7452AEAB7CAD}"/>
              </a:ext>
            </a:extLst>
          </p:cNvPr>
          <p:cNvSpPr txBox="1"/>
          <p:nvPr/>
        </p:nvSpPr>
        <p:spPr>
          <a:xfrm>
            <a:off x="7813723" y="6540437"/>
            <a:ext cx="12054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+mj-lt"/>
              </a:rPr>
              <a:t>v. 09/22/20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ACD89B3-9D4E-AEBC-AD36-9E53074CE9F6}"/>
              </a:ext>
            </a:extLst>
          </p:cNvPr>
          <p:cNvSpPr txBox="1"/>
          <p:nvPr/>
        </p:nvSpPr>
        <p:spPr>
          <a:xfrm>
            <a:off x="275209" y="1504158"/>
            <a:ext cx="8726218" cy="440120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53EA5"/>
                </a:solidFill>
                <a:latin typeface="+mj-lt"/>
              </a:rPr>
              <a:t>OBJECTIVES:</a:t>
            </a:r>
          </a:p>
          <a:p>
            <a:endParaRPr lang="en-US" sz="20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endParaRPr lang="en-US" sz="20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6. Engage SSM in our research and become the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PREFERRED CLINICAL TRIALS PARTNER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of SSM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7. Improve IT platforms that support research to enable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GREATER EFFICIENCY AND INTEROPERABILITY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8. Enable research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PROTECTED TIME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or clinical faculty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9.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INCREASE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the number and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DIVERSITY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 of research faculty.</a:t>
            </a:r>
          </a:p>
          <a:p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10. Increase </a:t>
            </a:r>
            <a:r>
              <a:rPr lang="en-US" sz="2000" b="1" dirty="0">
                <a:solidFill>
                  <a:srgbClr val="053EA5"/>
                </a:solidFill>
                <a:latin typeface="+mj-lt"/>
              </a:rPr>
              <a:t>INNOV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BBEB1E9-A2D2-2247-EB7B-E3B8B11053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334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Draft Strategic Plan for Research - SO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B269DD-BF4F-3C26-5108-7452AEAB7CAD}"/>
              </a:ext>
            </a:extLst>
          </p:cNvPr>
          <p:cNvSpPr txBox="1"/>
          <p:nvPr/>
        </p:nvSpPr>
        <p:spPr>
          <a:xfrm>
            <a:off x="7813723" y="6540437"/>
            <a:ext cx="12054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+mj-lt"/>
              </a:rPr>
              <a:t>v. 09/22/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4B08B5E-41B1-CBE2-ABF4-4A2B611A75A0}"/>
              </a:ext>
            </a:extLst>
          </p:cNvPr>
          <p:cNvSpPr txBox="1"/>
          <p:nvPr/>
        </p:nvSpPr>
        <p:spPr>
          <a:xfrm>
            <a:off x="186697" y="1666807"/>
            <a:ext cx="87706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53EA5"/>
                </a:solidFill>
                <a:latin typeface="+mj-lt"/>
              </a:rPr>
              <a:t>STRATEGIES &amp; METRIC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AF74E5-9291-B549-798E-D3C3BC3EE8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11510A-CF26-9B09-1BFC-243F38B1165D}"/>
              </a:ext>
            </a:extLst>
          </p:cNvPr>
          <p:cNvSpPr txBox="1"/>
          <p:nvPr/>
        </p:nvSpPr>
        <p:spPr>
          <a:xfrm>
            <a:off x="3702832" y="1739116"/>
            <a:ext cx="5254471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7 working groups (5-6 people each):</a:t>
            </a:r>
          </a:p>
          <a:p>
            <a:pPr>
              <a:buFontTx/>
              <a:buChar char="-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1">
              <a:buFontTx/>
              <a:buChar char="-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entoring &amp; Education</a:t>
            </a:r>
          </a:p>
          <a:p>
            <a:pPr lvl="1">
              <a:buFontTx/>
              <a:buChar char="-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1">
              <a:buFontTx/>
              <a:buChar char="-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frastructure &amp; Equipment</a:t>
            </a:r>
          </a:p>
          <a:p>
            <a:pPr lvl="1">
              <a:buFontTx/>
              <a:buChar char="-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1">
              <a:buFontTx/>
              <a:buChar char="-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novation &amp; Entrepreneurship</a:t>
            </a:r>
          </a:p>
          <a:p>
            <a:pPr lvl="1">
              <a:buFontTx/>
              <a:buChar char="-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1">
              <a:buFontTx/>
              <a:buChar char="-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rowth Basic &amp; Translational</a:t>
            </a:r>
          </a:p>
          <a:p>
            <a:pPr lvl="1">
              <a:buFontTx/>
              <a:buChar char="-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1">
              <a:buFontTx/>
              <a:buChar char="-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rowth Clinical &amp; Translational</a:t>
            </a:r>
          </a:p>
          <a:p>
            <a:pPr lvl="1">
              <a:buFontTx/>
              <a:buChar char="-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1">
              <a:buFontTx/>
              <a:buChar char="-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Diversity &amp; Inclusion</a:t>
            </a:r>
          </a:p>
          <a:p>
            <a:pPr lvl="1">
              <a:buFontTx/>
              <a:buChar char="-"/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1">
              <a:buFontTx/>
              <a:buChar char="-"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Operations &amp; Policies</a:t>
            </a:r>
          </a:p>
        </p:txBody>
      </p:sp>
    </p:spTree>
    <p:extLst>
      <p:ext uri="{BB962C8B-B14F-4D97-AF65-F5344CB8AC3E}">
        <p14:creationId xmlns:p14="http://schemas.microsoft.com/office/powerpoint/2010/main" val="41698258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Draft Strategic Plan for Research - S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555D39-2F91-F280-9067-9C3FF4ABC3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079BDAF-F007-1A45-D7ED-3EA3241F0281}"/>
              </a:ext>
            </a:extLst>
          </p:cNvPr>
          <p:cNvSpPr txBox="1"/>
          <p:nvPr/>
        </p:nvSpPr>
        <p:spPr>
          <a:xfrm>
            <a:off x="186697" y="1666807"/>
            <a:ext cx="87706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53EA5"/>
                </a:solidFill>
                <a:latin typeface="+mj-lt"/>
              </a:rPr>
              <a:t>TIMELIN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4A5F5EA-6A5D-9B92-5C5C-0696C3897539}"/>
              </a:ext>
            </a:extLst>
          </p:cNvPr>
          <p:cNvSpPr txBox="1"/>
          <p:nvPr/>
        </p:nvSpPr>
        <p:spPr>
          <a:xfrm>
            <a:off x="1540274" y="2637850"/>
            <a:ext cx="5863701" cy="2382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effectLst/>
              </a:rPr>
              <a:t>Kickoff Meeting                     </a:t>
            </a:r>
            <a:r>
              <a:rPr lang="en-US" sz="2000" dirty="0">
                <a:solidFill>
                  <a:srgbClr val="053EA5"/>
                </a:solidFill>
                <a:effectLst/>
              </a:rPr>
              <a:t>September 12, 2022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Progress Meeting         </a:t>
            </a:r>
            <a:r>
              <a:rPr lang="en-US" sz="2000" dirty="0">
                <a:solidFill>
                  <a:srgbClr val="053EA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ptember 29, 2022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ond Progress Meeting   </a:t>
            </a:r>
            <a:r>
              <a:rPr lang="en-US" sz="2000" dirty="0">
                <a:solidFill>
                  <a:srgbClr val="053EA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tober 18, 2022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l Meeting                        </a:t>
            </a:r>
            <a:r>
              <a:rPr lang="en-US" sz="2000" dirty="0">
                <a:solidFill>
                  <a:srgbClr val="053EA5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ember 4, 2022</a:t>
            </a:r>
          </a:p>
        </p:txBody>
      </p:sp>
    </p:spTree>
    <p:extLst>
      <p:ext uri="{BB962C8B-B14F-4D97-AF65-F5344CB8AC3E}">
        <p14:creationId xmlns:p14="http://schemas.microsoft.com/office/powerpoint/2010/main" val="24471295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0D418BB1-20A4-CE40-8BFF-ABDB8826E5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048174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0D418BB1-20A4-CE40-8BFF-ABDB8826E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BE PART OF THE CHANGE YOU WANT TO SEE</a:t>
            </a:r>
          </a:p>
        </p:txBody>
      </p:sp>
      <p:pic>
        <p:nvPicPr>
          <p:cNvPr id="2050" name="Picture 2" descr="Let's Grow Together Poster">
            <a:extLst>
              <a:ext uri="{FF2B5EF4-FFF2-40B4-BE49-F238E27FC236}">
                <a16:creationId xmlns:a16="http://schemas.microsoft.com/office/drawing/2014/main" id="{CF95F0C6-B249-B4AA-066A-D72A68EBAE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6193" y="1571348"/>
            <a:ext cx="2266765" cy="340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762EC34-4902-0A70-FCC2-BACF903BC39D}"/>
              </a:ext>
            </a:extLst>
          </p:cNvPr>
          <p:cNvSpPr txBox="1"/>
          <p:nvPr/>
        </p:nvSpPr>
        <p:spPr>
          <a:xfrm>
            <a:off x="236368" y="5165988"/>
            <a:ext cx="867126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chemeClr val="bg1">
                    <a:lumMod val="50000"/>
                  </a:schemeClr>
                </a:solidFill>
                <a:effectLst/>
              </a:rPr>
              <a:t>All </a:t>
            </a:r>
            <a:r>
              <a:rPr lang="en-US" b="1" i="0" dirty="0">
                <a:solidFill>
                  <a:srgbClr val="053EA5"/>
                </a:solidFill>
                <a:effectLst/>
              </a:rPr>
              <a:t>RESEARCH INQUIRIES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 &amp; </a:t>
            </a:r>
            <a:r>
              <a:rPr lang="en-US" b="1" dirty="0">
                <a:solidFill>
                  <a:srgbClr val="053EA5"/>
                </a:solidFill>
              </a:rPr>
              <a:t>COMMENTS</a:t>
            </a:r>
            <a:r>
              <a:rPr lang="en-US" b="0" i="0" dirty="0">
                <a:solidFill>
                  <a:schemeClr val="bg1">
                    <a:lumMod val="50000"/>
                  </a:schemeClr>
                </a:solidFill>
                <a:effectLst/>
              </a:rPr>
              <a:t> may be directed to: </a:t>
            </a:r>
          </a:p>
          <a:p>
            <a:endParaRPr lang="en-US" sz="600" b="0" i="0" dirty="0">
              <a:solidFill>
                <a:schemeClr val="bg1">
                  <a:lumMod val="50000"/>
                </a:schemeClr>
              </a:solidFill>
              <a:effectLst/>
            </a:endParaRPr>
          </a:p>
          <a:p>
            <a:pPr algn="ctr"/>
            <a:r>
              <a:rPr lang="en-US" b="1" i="0" dirty="0">
                <a:solidFill>
                  <a:srgbClr val="053EA5"/>
                </a:solidFill>
                <a:effectLst/>
              </a:rPr>
              <a:t>										som_research@health.slu.edu</a:t>
            </a:r>
            <a:r>
              <a:rPr lang="en-US" b="1" i="0" dirty="0">
                <a:solidFill>
                  <a:schemeClr val="bg1">
                    <a:lumMod val="50000"/>
                  </a:schemeClr>
                </a:solidFill>
                <a:effectLst/>
              </a:rPr>
              <a:t> </a:t>
            </a:r>
          </a:p>
          <a:p>
            <a:pPr algn="ctr"/>
            <a:endParaRPr lang="en-US" sz="600" b="1" i="0" dirty="0">
              <a:solidFill>
                <a:schemeClr val="bg1">
                  <a:lumMod val="50000"/>
                </a:schemeClr>
              </a:solidFill>
              <a:effectLst/>
            </a:endParaRPr>
          </a:p>
          <a:p>
            <a:r>
              <a:rPr lang="en-US" sz="1600" b="0" i="0" dirty="0">
                <a:solidFill>
                  <a:schemeClr val="bg1">
                    <a:lumMod val="50000"/>
                  </a:schemeClr>
                </a:solidFill>
                <a:effectLst/>
              </a:rPr>
              <a:t>Adriana M. </a:t>
            </a:r>
            <a:r>
              <a:rPr lang="en-US" sz="1600" b="0" i="0" dirty="0" err="1">
                <a:solidFill>
                  <a:schemeClr val="bg1">
                    <a:lumMod val="50000"/>
                  </a:schemeClr>
                </a:solidFill>
                <a:effectLst/>
              </a:rPr>
              <a:t>Montaño</a:t>
            </a:r>
            <a:r>
              <a:rPr lang="en-US" sz="1600" b="0" i="0" dirty="0">
                <a:solidFill>
                  <a:schemeClr val="bg1">
                    <a:lumMod val="50000"/>
                  </a:schemeClr>
                </a:solidFill>
                <a:effectLst/>
              </a:rPr>
              <a:t>, Ph.D., Vice Dean of Research, </a:t>
            </a:r>
          </a:p>
          <a:p>
            <a:r>
              <a:rPr lang="en-US" sz="1600" b="0" i="0" dirty="0">
                <a:solidFill>
                  <a:schemeClr val="bg1">
                    <a:lumMod val="50000"/>
                  </a:schemeClr>
                </a:solidFill>
                <a:effectLst/>
              </a:rPr>
              <a:t>Sandra Cornell, SOM Research Planning &amp; Operations Manager &amp; </a:t>
            </a:r>
          </a:p>
          <a:p>
            <a:r>
              <a:rPr lang="en-US" sz="1600" b="0" i="0" dirty="0">
                <a:solidFill>
                  <a:schemeClr val="bg1">
                    <a:lumMod val="50000"/>
                  </a:schemeClr>
                </a:solidFill>
                <a:effectLst/>
              </a:rPr>
              <a:t>Tara </a:t>
            </a:r>
            <a:r>
              <a:rPr lang="en-US" sz="1600" b="0" i="0" dirty="0" err="1">
                <a:solidFill>
                  <a:schemeClr val="bg1">
                    <a:lumMod val="50000"/>
                  </a:schemeClr>
                </a:solidFill>
                <a:effectLst/>
              </a:rPr>
              <a:t>Maulood</a:t>
            </a:r>
            <a:r>
              <a:rPr lang="en-US" sz="1600" b="0" i="0" dirty="0">
                <a:solidFill>
                  <a:schemeClr val="bg1">
                    <a:lumMod val="50000"/>
                  </a:schemeClr>
                </a:solidFill>
                <a:effectLst/>
              </a:rPr>
              <a:t>, SOM Project Manager.</a:t>
            </a:r>
            <a:endParaRPr lang="en-US" sz="16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4725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E7ECED8-9548-7B43-975C-7D8403F53ECB}"/>
              </a:ext>
            </a:extLst>
          </p:cNvPr>
          <p:cNvSpPr txBox="1"/>
          <p:nvPr/>
        </p:nvSpPr>
        <p:spPr>
          <a:xfrm>
            <a:off x="3079700" y="2399477"/>
            <a:ext cx="298460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solidFill>
                  <a:schemeClr val="bg1"/>
                </a:solidFill>
              </a:rPr>
              <a:t>Questions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E9266A-E263-E943-AC76-12CF36B5494F}"/>
              </a:ext>
            </a:extLst>
          </p:cNvPr>
          <p:cNvSpPr txBox="1"/>
          <p:nvPr/>
        </p:nvSpPr>
        <p:spPr>
          <a:xfrm>
            <a:off x="3551528" y="3136612"/>
            <a:ext cx="20409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4007929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907EEB2-3062-B344-AE1E-C22F58D166BB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School of Medicine: Some Recent Mileston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57557E-FFA6-0C4C-A832-B67BC79A696B}"/>
              </a:ext>
            </a:extLst>
          </p:cNvPr>
          <p:cNvSpPr txBox="1"/>
          <p:nvPr/>
        </p:nvSpPr>
        <p:spPr>
          <a:xfrm>
            <a:off x="344077" y="1700926"/>
            <a:ext cx="8455846" cy="40626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rmation of the </a:t>
            </a:r>
            <a:r>
              <a:rPr lang="en-US" sz="2000" b="1" dirty="0">
                <a:solidFill>
                  <a:srgbClr val="053EA5"/>
                </a:solidFill>
              </a:rPr>
              <a:t>OFFICE OF RESEARCH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t the SO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5 School of Medicine </a:t>
            </a:r>
            <a:r>
              <a:rPr lang="en-US" sz="2000" b="1" dirty="0">
                <a:solidFill>
                  <a:srgbClr val="053EA5"/>
                </a:solidFill>
              </a:rPr>
              <a:t>RI FELLOW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amed in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fforts to </a:t>
            </a:r>
            <a:r>
              <a:rPr lang="en-US" sz="2000" b="1" dirty="0">
                <a:solidFill>
                  <a:srgbClr val="053EA5"/>
                </a:solidFill>
              </a:rPr>
              <a:t>REALIGN AND AUGMENT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linical trial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reation of </a:t>
            </a:r>
            <a:r>
              <a:rPr lang="en-US" sz="2000" b="1" dirty="0">
                <a:solidFill>
                  <a:srgbClr val="053EA5"/>
                </a:solidFill>
              </a:rPr>
              <a:t>CLINICAL RESEARCH UNIT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&amp; the </a:t>
            </a:r>
            <a:r>
              <a:rPr lang="en-US" sz="2000" b="1" dirty="0">
                <a:solidFill>
                  <a:srgbClr val="053EA5"/>
                </a:solidFill>
              </a:rPr>
              <a:t>ACADEMIC RESEARCH ADMINISTRATION (ARA) UN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umerous </a:t>
            </a:r>
            <a:r>
              <a:rPr lang="en-US" sz="2000" b="1" dirty="0">
                <a:solidFill>
                  <a:srgbClr val="053EA5"/>
                </a:solidFill>
              </a:rPr>
              <a:t>INDIVIDUAL PI AWARDS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NAI fellows, Google Scholar Award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mplifying our </a:t>
            </a:r>
            <a:r>
              <a:rPr lang="en-US" sz="2000" b="1" dirty="0">
                <a:solidFill>
                  <a:srgbClr val="053EA5"/>
                </a:solidFill>
              </a:rPr>
              <a:t>JESUIT MISSION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hrough our research &amp; innovation initiatives</a:t>
            </a:r>
            <a:endParaRPr lang="en-US" sz="2000" dirty="0"/>
          </a:p>
          <a:p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ADFAA7-8A00-964D-B558-BF6E855F33AE}"/>
              </a:ext>
            </a:extLst>
          </p:cNvPr>
          <p:cNvSpPr/>
          <p:nvPr/>
        </p:nvSpPr>
        <p:spPr>
          <a:xfrm>
            <a:off x="8179496" y="6087649"/>
            <a:ext cx="882582" cy="360448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fld id="{F30080B6-3BDC-E54F-9F62-CF259F0C007E}" type="slidenum">
              <a:rPr lang="en-US" sz="1400" smtClean="0"/>
              <a:t>2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95358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OM Research Expenditures 2018- 202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E82A632-8EC2-341B-045D-A9811F67A32B}"/>
              </a:ext>
            </a:extLst>
          </p:cNvPr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383D44F-4A4E-C2B5-D87A-A243BAD54934}"/>
              </a:ext>
            </a:extLst>
          </p:cNvPr>
          <p:cNvSpPr/>
          <p:nvPr/>
        </p:nvSpPr>
        <p:spPr>
          <a:xfrm>
            <a:off x="206232" y="4814887"/>
            <a:ext cx="1196333" cy="13173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CB012E-1CF9-96A3-1458-6B353A0C50F3}"/>
              </a:ext>
            </a:extLst>
          </p:cNvPr>
          <p:cNvGrpSpPr/>
          <p:nvPr/>
        </p:nvGrpSpPr>
        <p:grpSpPr>
          <a:xfrm>
            <a:off x="944175" y="1986596"/>
            <a:ext cx="7279481" cy="4011601"/>
            <a:chOff x="1775951" y="1357638"/>
            <a:chExt cx="9703447" cy="5347407"/>
          </a:xfrm>
        </p:grpSpPr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id="{5F846671-D910-3A60-5697-58079A9817E9}"/>
                </a:ext>
              </a:extLst>
            </p:cNvPr>
            <p:cNvGraphicFramePr/>
            <p:nvPr>
              <p:custDataLst>
                <p:tags r:id="rId30"/>
              </p:custDataLst>
            </p:nvPr>
          </p:nvGraphicFramePr>
          <p:xfrm>
            <a:off x="1775951" y="1670294"/>
            <a:ext cx="9703447" cy="454700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4"/>
            </a:graphicData>
          </a:graphic>
        </p:graphicFrame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6CF81848-7D71-1D8D-BF2A-4CD4A9627FC0}"/>
                </a:ext>
              </a:extLst>
            </p:cNvPr>
            <p:cNvCxnSpPr>
              <a:cxnSpLocks/>
            </p:cNvCxnSpPr>
            <p:nvPr>
              <p:custDataLst>
                <p:tags r:id="rId31"/>
              </p:custDataLst>
            </p:nvPr>
          </p:nvCxnSpPr>
          <p:spPr bwMode="auto">
            <a:xfrm flipH="1" flipV="1">
              <a:off x="5173902" y="2554301"/>
              <a:ext cx="98399" cy="19045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43FA68A4-9596-A4A4-5202-EC91BBECDA45}"/>
                </a:ext>
              </a:extLst>
            </p:cNvPr>
            <p:cNvCxnSpPr>
              <a:cxnSpLocks/>
            </p:cNvCxnSpPr>
            <p:nvPr>
              <p:custDataLst>
                <p:tags r:id="rId32"/>
              </p:custDataLst>
            </p:nvPr>
          </p:nvCxnSpPr>
          <p:spPr bwMode="auto">
            <a:xfrm flipH="1" flipV="1">
              <a:off x="5173902" y="2595566"/>
              <a:ext cx="98399" cy="169819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BB0D31A-B0A9-8C29-E69C-9201C2D6FD92}"/>
                </a:ext>
              </a:extLst>
            </p:cNvPr>
            <p:cNvCxnSpPr>
              <a:cxnSpLocks/>
            </p:cNvCxnSpPr>
            <p:nvPr>
              <p:custDataLst>
                <p:tags r:id="rId33"/>
              </p:custDataLst>
            </p:nvPr>
          </p:nvCxnSpPr>
          <p:spPr bwMode="auto">
            <a:xfrm flipH="1" flipV="1">
              <a:off x="8989259" y="1863918"/>
              <a:ext cx="98399" cy="465017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577A966-E539-332B-CE43-0524A75233C0}"/>
                </a:ext>
              </a:extLst>
            </p:cNvPr>
            <p:cNvCxnSpPr>
              <a:cxnSpLocks/>
            </p:cNvCxnSpPr>
            <p:nvPr>
              <p:custDataLst>
                <p:tags r:id="rId34"/>
              </p:custDataLst>
            </p:nvPr>
          </p:nvCxnSpPr>
          <p:spPr bwMode="auto">
            <a:xfrm flipH="1" flipV="1">
              <a:off x="3266224" y="2762210"/>
              <a:ext cx="98399" cy="23807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586A8FE-F8BE-C3D5-6FAD-74E68EEE1B3D}"/>
                </a:ext>
              </a:extLst>
            </p:cNvPr>
            <p:cNvCxnSpPr>
              <a:cxnSpLocks/>
            </p:cNvCxnSpPr>
            <p:nvPr>
              <p:custDataLst>
                <p:tags r:id="rId35"/>
              </p:custDataLst>
            </p:nvPr>
          </p:nvCxnSpPr>
          <p:spPr bwMode="auto">
            <a:xfrm flipH="1" flipV="1">
              <a:off x="3266224" y="2849499"/>
              <a:ext cx="98399" cy="225366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E58EC98-DA09-14C9-9C1C-087A3D385670}"/>
                </a:ext>
              </a:extLst>
            </p:cNvPr>
            <p:cNvCxnSpPr>
              <a:cxnSpLocks/>
            </p:cNvCxnSpPr>
            <p:nvPr>
              <p:custDataLst>
                <p:tags r:id="rId36"/>
              </p:custDataLst>
            </p:nvPr>
          </p:nvCxnSpPr>
          <p:spPr bwMode="auto">
            <a:xfrm flipH="1" flipV="1">
              <a:off x="8989259" y="1868680"/>
              <a:ext cx="98399" cy="652293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5F4DB91-258D-8954-E9B1-A464570C2A87}"/>
                </a:ext>
              </a:extLst>
            </p:cNvPr>
            <p:cNvCxnSpPr>
              <a:cxnSpLocks/>
            </p:cNvCxnSpPr>
            <p:nvPr>
              <p:custDataLst>
                <p:tags r:id="rId37"/>
              </p:custDataLst>
            </p:nvPr>
          </p:nvCxnSpPr>
          <p:spPr bwMode="auto">
            <a:xfrm flipH="1" flipV="1">
              <a:off x="3266224" y="2800299"/>
              <a:ext cx="98399" cy="177754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2ECCA920-43FD-F47E-C38B-A1418CA176CC}"/>
                </a:ext>
              </a:extLst>
            </p:cNvPr>
            <p:cNvCxnSpPr>
              <a:cxnSpLocks/>
            </p:cNvCxnSpPr>
            <p:nvPr>
              <p:custDataLst>
                <p:tags r:id="rId38"/>
              </p:custDataLst>
            </p:nvPr>
          </p:nvCxnSpPr>
          <p:spPr bwMode="auto">
            <a:xfrm flipH="1" flipV="1">
              <a:off x="8989259" y="1767105"/>
              <a:ext cx="98399" cy="177754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80DA0A6-990B-B407-4CF4-0111B71C3EB7}"/>
                </a:ext>
              </a:extLst>
            </p:cNvPr>
            <p:cNvCxnSpPr>
              <a:cxnSpLocks/>
            </p:cNvCxnSpPr>
            <p:nvPr>
              <p:custDataLst>
                <p:tags r:id="rId39"/>
              </p:custDataLst>
            </p:nvPr>
          </p:nvCxnSpPr>
          <p:spPr bwMode="auto">
            <a:xfrm flipH="1">
              <a:off x="3266224" y="2593980"/>
              <a:ext cx="98399" cy="144425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B4A5305-EEB7-BA65-A081-524A32398CBE}"/>
                </a:ext>
              </a:extLst>
            </p:cNvPr>
            <p:cNvCxnSpPr>
              <a:cxnSpLocks/>
            </p:cNvCxnSpPr>
            <p:nvPr>
              <p:custDataLst>
                <p:tags r:id="rId40"/>
              </p:custDataLst>
            </p:nvPr>
          </p:nvCxnSpPr>
          <p:spPr bwMode="auto">
            <a:xfrm flipH="1" flipV="1">
              <a:off x="7081581" y="2662223"/>
              <a:ext cx="98399" cy="136489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DFC5FFE6-CFE8-BF01-B0C0-E44F05E3F924}"/>
                </a:ext>
              </a:extLst>
            </p:cNvPr>
            <p:cNvCxnSpPr>
              <a:cxnSpLocks/>
            </p:cNvCxnSpPr>
            <p:nvPr>
              <p:custDataLst>
                <p:tags r:id="rId41"/>
              </p:custDataLst>
            </p:nvPr>
          </p:nvCxnSpPr>
          <p:spPr bwMode="auto">
            <a:xfrm flipH="1" flipV="1">
              <a:off x="8989259" y="1754410"/>
              <a:ext cx="98399" cy="93639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B488507-1398-4D98-BCF2-B4AE3E7D9633}"/>
                </a:ext>
              </a:extLst>
            </p:cNvPr>
            <p:cNvCxnSpPr/>
            <p:nvPr>
              <p:custDataLst>
                <p:tags r:id="rId42"/>
              </p:custDataLst>
            </p:nvPr>
          </p:nvCxnSpPr>
          <p:spPr bwMode="auto">
            <a:xfrm flipH="1">
              <a:off x="3266224" y="2498753"/>
              <a:ext cx="98399" cy="223780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90F97B1E-A2F3-2AB7-85AB-0F66847F5272}"/>
                </a:ext>
              </a:extLst>
            </p:cNvPr>
            <p:cNvCxnSpPr>
              <a:cxnSpLocks/>
            </p:cNvCxnSpPr>
            <p:nvPr>
              <p:custDataLst>
                <p:tags r:id="rId43"/>
              </p:custDataLst>
            </p:nvPr>
          </p:nvCxnSpPr>
          <p:spPr bwMode="auto">
            <a:xfrm flipH="1" flipV="1">
              <a:off x="5173902" y="2628895"/>
              <a:ext cx="98399" cy="233302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F195F99-647E-2039-30E3-6BE7063CEE4C}"/>
                </a:ext>
              </a:extLst>
            </p:cNvPr>
            <p:cNvCxnSpPr>
              <a:cxnSpLocks/>
            </p:cNvCxnSpPr>
            <p:nvPr>
              <p:custDataLst>
                <p:tags r:id="rId44"/>
              </p:custDataLst>
            </p:nvPr>
          </p:nvCxnSpPr>
          <p:spPr bwMode="auto">
            <a:xfrm flipH="1">
              <a:off x="7081581" y="2414637"/>
              <a:ext cx="98399" cy="131729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EDD73EB-9ED0-B3A2-1739-815ED1C3094F}"/>
                </a:ext>
              </a:extLst>
            </p:cNvPr>
            <p:cNvCxnSpPr>
              <a:cxnSpLocks/>
            </p:cNvCxnSpPr>
            <p:nvPr>
              <p:custDataLst>
                <p:tags r:id="rId45"/>
              </p:custDataLst>
            </p:nvPr>
          </p:nvCxnSpPr>
          <p:spPr bwMode="auto">
            <a:xfrm flipH="1" flipV="1">
              <a:off x="7081581" y="2592391"/>
              <a:ext cx="98399" cy="14284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D97EF63-86E1-88BE-C353-9C13659DB044}"/>
                </a:ext>
              </a:extLst>
            </p:cNvPr>
            <p:cNvCxnSpPr>
              <a:cxnSpLocks/>
            </p:cNvCxnSpPr>
            <p:nvPr>
              <p:custDataLst>
                <p:tags r:id="rId46"/>
              </p:custDataLst>
            </p:nvPr>
          </p:nvCxnSpPr>
          <p:spPr bwMode="auto">
            <a:xfrm flipH="1">
              <a:off x="7081581" y="2319412"/>
              <a:ext cx="98399" cy="209495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AA196493-D230-DAF3-80D2-4E143FEFB381}"/>
                </a:ext>
              </a:extLst>
            </p:cNvPr>
            <p:cNvCxnSpPr>
              <a:cxnSpLocks/>
            </p:cNvCxnSpPr>
            <p:nvPr>
              <p:custDataLst>
                <p:tags r:id="rId47"/>
              </p:custDataLst>
            </p:nvPr>
          </p:nvCxnSpPr>
          <p:spPr bwMode="auto">
            <a:xfrm flipH="1" flipV="1">
              <a:off x="7081581" y="2684441"/>
              <a:ext cx="98399" cy="211083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7D2337FA-3C7F-CE35-B718-F2CD7FFF8D7C}"/>
                </a:ext>
              </a:extLst>
            </p:cNvPr>
            <p:cNvCxnSpPr>
              <a:cxnSpLocks/>
            </p:cNvCxnSpPr>
            <p:nvPr>
              <p:custDataLst>
                <p:tags r:id="rId48"/>
              </p:custDataLst>
            </p:nvPr>
          </p:nvCxnSpPr>
          <p:spPr bwMode="auto">
            <a:xfrm flipH="1">
              <a:off x="5173902" y="2286083"/>
              <a:ext cx="98399" cy="230128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CD9A7E8-5364-3728-9279-3D60D9C15EFC}"/>
                </a:ext>
              </a:extLst>
            </p:cNvPr>
            <p:cNvCxnSpPr>
              <a:cxnSpLocks/>
            </p:cNvCxnSpPr>
            <p:nvPr>
              <p:custDataLst>
                <p:tags r:id="rId49"/>
              </p:custDataLst>
            </p:nvPr>
          </p:nvCxnSpPr>
          <p:spPr bwMode="auto">
            <a:xfrm flipH="1">
              <a:off x="5173902" y="2381309"/>
              <a:ext cx="98399" cy="144425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FA4B1E51-704D-E95F-4AE1-677E2D554BA3}"/>
                </a:ext>
              </a:extLst>
            </p:cNvPr>
            <p:cNvCxnSpPr>
              <a:cxnSpLocks/>
            </p:cNvCxnSpPr>
            <p:nvPr>
              <p:custDataLst>
                <p:tags r:id="rId50"/>
              </p:custDataLst>
            </p:nvPr>
          </p:nvCxnSpPr>
          <p:spPr bwMode="auto">
            <a:xfrm flipH="1" flipV="1">
              <a:off x="8989259" y="1855982"/>
              <a:ext cx="98399" cy="280915"/>
            </a:xfrm>
            <a:prstGeom prst="line">
              <a:avLst/>
            </a:prstGeom>
            <a:ln w="6350" cap="flat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8" name="Text Placeholder 2">
              <a:extLst>
                <a:ext uri="{FF2B5EF4-FFF2-40B4-BE49-F238E27FC236}">
                  <a16:creationId xmlns:a16="http://schemas.microsoft.com/office/drawing/2014/main" id="{3B25971F-A1A3-1994-3DE2-DEBC5C8644C2}"/>
                </a:ext>
              </a:extLst>
            </p:cNvPr>
            <p:cNvSpPr txBox="1"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8640099" y="1719493"/>
              <a:ext cx="322179" cy="19203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02968253-BF05-4CF6-8AD0-57216FC1F0E2}" type="datetime'''''''''''''''''''''''61''9'''''''''''''''''''''''''''''''">
                <a:rPr lang="en-US" altLang="en-US" sz="1050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619</a:t>
              </a:fld>
              <a:endParaRPr lang="en-US" sz="1050" dirty="0"/>
            </a:p>
          </p:txBody>
        </p:sp>
        <p:sp>
          <p:nvSpPr>
            <p:cNvPr id="29" name="Text Placeholder 2">
              <a:extLst>
                <a:ext uri="{FF2B5EF4-FFF2-40B4-BE49-F238E27FC236}">
                  <a16:creationId xmlns:a16="http://schemas.microsoft.com/office/drawing/2014/main" id="{1CCF69E4-A3D6-2CD7-3E3C-F5D970F30D90}"/>
                </a:ext>
              </a:extLst>
            </p:cNvPr>
            <p:cNvSpPr txBox="1"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10562060" y="2342467"/>
              <a:ext cx="322179" cy="1920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465B827E-F8E6-448A-AE18-C79DB0179AC0}" type="datetime'''''''''4''''4''''''''''''''''''''''''''''7'''''''''''''''''">
                <a:rPr lang="en-US" altLang="en-US" sz="1050">
                  <a:solidFill>
                    <a:schemeClr val="bg1"/>
                  </a:solidFill>
                </a:rPr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447</a:t>
              </a:fld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30" name="Text Placeholder 2">
              <a:extLst>
                <a:ext uri="{FF2B5EF4-FFF2-40B4-BE49-F238E27FC236}">
                  <a16:creationId xmlns:a16="http://schemas.microsoft.com/office/drawing/2014/main" id="{A7D6C549-67CF-C2E5-1F72-1BD7C06C393D}"/>
                </a:ext>
              </a:extLst>
            </p:cNvPr>
            <p:cNvSpPr txBox="1">
              <a:spLocks/>
            </p:cNvSpPr>
            <p:nvPr>
              <p:custDataLst>
                <p:tags r:id="rId53"/>
              </p:custDataLst>
            </p:nvPr>
          </p:nvSpPr>
          <p:spPr bwMode="gray">
            <a:xfrm>
              <a:off x="8251636" y="1357638"/>
              <a:ext cx="547545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19050" tIns="0" rIns="19050" bIns="0" numCol="1" spcCol="0" rtlCol="0" anchor="b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25D7741F-19E7-4BFB-B740-B812C00A55B9}" type="datetime'''3''''''''7'',''''''''''''4''''''''''''''''5''''''1'''">
                <a:rPr lang="en-US" altLang="en-US" sz="16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37,451</a:t>
              </a:fld>
              <a:endParaRPr lang="en-US" sz="1600" b="1" dirty="0"/>
            </a:p>
          </p:txBody>
        </p:sp>
        <p:sp>
          <p:nvSpPr>
            <p:cNvPr id="31" name="Text Placeholder 2">
              <a:extLst>
                <a:ext uri="{FF2B5EF4-FFF2-40B4-BE49-F238E27FC236}">
                  <a16:creationId xmlns:a16="http://schemas.microsoft.com/office/drawing/2014/main" id="{0FFDC571-B35A-DAA7-1427-1FE426E612E3}"/>
                </a:ext>
              </a:extLst>
            </p:cNvPr>
            <p:cNvSpPr txBox="1">
              <a:spLocks/>
            </p:cNvSpPr>
            <p:nvPr>
              <p:custDataLst>
                <p:tags r:id="rId54"/>
              </p:custDataLst>
            </p:nvPr>
          </p:nvSpPr>
          <p:spPr bwMode="gray">
            <a:xfrm>
              <a:off x="8110013" y="1813132"/>
              <a:ext cx="322179" cy="1920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4B615E1F-535E-4DA1-86E9-E971E76A5DBF}" type="datetime'''''''''''''''''6''''9''''''4'">
                <a:rPr lang="en-US" altLang="en-US" sz="1050">
                  <a:solidFill>
                    <a:schemeClr val="bg1"/>
                  </a:solidFill>
                </a:rPr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694</a:t>
              </a:fld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32" name="Text Placeholder 2">
              <a:extLst>
                <a:ext uri="{FF2B5EF4-FFF2-40B4-BE49-F238E27FC236}">
                  <a16:creationId xmlns:a16="http://schemas.microsoft.com/office/drawing/2014/main" id="{B87D2247-B67E-2589-5FE9-4322EC25CD96}"/>
                </a:ext>
              </a:extLst>
            </p:cNvPr>
            <p:cNvSpPr txBox="1"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9087657" y="2520972"/>
              <a:ext cx="141251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fld id="{E73B3F70-2D4B-472E-96C5-2FBB33EC1835}" type="datetime'''''''''''''''''''''''''''''''''2'''''''''">
                <a:rPr lang="en-US" altLang="en-US" sz="1050"/>
                <a:pPr marL="0" indent="0">
                  <a:spcBef>
                    <a:spcPct val="0"/>
                  </a:spcBef>
                  <a:spcAft>
                    <a:spcPct val="0"/>
                  </a:spcAft>
                  <a:buNone/>
                </a:pPr>
                <a:t>2</a:t>
              </a:fld>
              <a:endParaRPr lang="en-US" sz="1050" dirty="0"/>
            </a:p>
          </p:txBody>
        </p:sp>
        <p:sp>
          <p:nvSpPr>
            <p:cNvPr id="33" name="Text Placeholder 2">
              <a:extLst>
                <a:ext uri="{FF2B5EF4-FFF2-40B4-BE49-F238E27FC236}">
                  <a16:creationId xmlns:a16="http://schemas.microsoft.com/office/drawing/2014/main" id="{551F6561-FEEC-26BB-D9DF-6B3420C85842}"/>
                </a:ext>
              </a:extLst>
            </p:cNvPr>
            <p:cNvSpPr txBox="1"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10995335" y="3833492"/>
              <a:ext cx="141251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endParaRPr lang="en-US" sz="1050" dirty="0"/>
            </a:p>
          </p:txBody>
        </p:sp>
        <p:sp>
          <p:nvSpPr>
            <p:cNvPr id="34" name="Text Placeholder 2">
              <a:extLst>
                <a:ext uri="{FF2B5EF4-FFF2-40B4-BE49-F238E27FC236}">
                  <a16:creationId xmlns:a16="http://schemas.microsoft.com/office/drawing/2014/main" id="{B08E39C1-CB87-EB45-E7FA-589F7585638A}"/>
                </a:ext>
              </a:extLst>
            </p:cNvPr>
            <p:cNvSpPr txBox="1"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6732421" y="2544778"/>
              <a:ext cx="322179" cy="19203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B8661B7B-168C-4753-B3D7-B7BDEEB8300E}" type="datetime'''''''''''''''''''''''''''2''''''''4''''''''''''''''''''4'''">
                <a:rPr lang="en-US" altLang="en-US" sz="1050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244</a:t>
              </a:fld>
              <a:endParaRPr lang="en-US" sz="1050" dirty="0"/>
            </a:p>
          </p:txBody>
        </p:sp>
        <p:sp>
          <p:nvSpPr>
            <p:cNvPr id="35" name="Text Placeholder 2">
              <a:extLst>
                <a:ext uri="{FF2B5EF4-FFF2-40B4-BE49-F238E27FC236}">
                  <a16:creationId xmlns:a16="http://schemas.microsoft.com/office/drawing/2014/main" id="{3F55146B-31B6-A66A-A393-4AB8334FAA3F}"/>
                </a:ext>
              </a:extLst>
            </p:cNvPr>
            <p:cNvSpPr txBox="1"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2386978" y="2809822"/>
              <a:ext cx="322179" cy="1920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966B4374-F85B-4208-8852-24DB98E008D4}" type="datetime'''''''''''5''1''''6'''''''''''''''''''''''''''''''''''''''''''">
                <a:rPr lang="en-US" altLang="en-US" sz="1050">
                  <a:solidFill>
                    <a:schemeClr val="bg1"/>
                  </a:solidFill>
                </a:rPr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516</a:t>
              </a:fld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36" name="Text Placeholder 2">
              <a:extLst>
                <a:ext uri="{FF2B5EF4-FFF2-40B4-BE49-F238E27FC236}">
                  <a16:creationId xmlns:a16="http://schemas.microsoft.com/office/drawing/2014/main" id="{A598AFD3-B96C-594A-B8B6-06BA166E6A46}"/>
                </a:ext>
              </a:extLst>
            </p:cNvPr>
            <p:cNvSpPr txBox="1">
              <a:spLocks/>
            </p:cNvSpPr>
            <p:nvPr>
              <p:custDataLst>
                <p:tags r:id="rId59"/>
              </p:custDataLst>
            </p:nvPr>
          </p:nvSpPr>
          <p:spPr bwMode="gray">
            <a:xfrm>
              <a:off x="6202334" y="2646352"/>
              <a:ext cx="322179" cy="1920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2F76EC64-D0E4-4508-811A-292CCBB28D12}" type="datetime'''7''''''''''''''''''''''3''''''''''''''''''''5'''">
                <a:rPr lang="en-US" altLang="en-US" sz="1050">
                  <a:solidFill>
                    <a:schemeClr val="bg1"/>
                  </a:solidFill>
                </a:rPr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735</a:t>
              </a:fld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37" name="Text Placeholder 2">
              <a:extLst>
                <a:ext uri="{FF2B5EF4-FFF2-40B4-BE49-F238E27FC236}">
                  <a16:creationId xmlns:a16="http://schemas.microsoft.com/office/drawing/2014/main" id="{B0DECF53-A12A-C860-4989-617AF9B45CBB}"/>
                </a:ext>
              </a:extLst>
            </p:cNvPr>
            <p:cNvSpPr txBox="1">
              <a:spLocks/>
            </p:cNvSpPr>
            <p:nvPr>
              <p:custDataLst>
                <p:tags r:id="rId60"/>
              </p:custDataLst>
            </p:nvPr>
          </p:nvSpPr>
          <p:spPr bwMode="gray">
            <a:xfrm>
              <a:off x="2917065" y="2893937"/>
              <a:ext cx="322179" cy="1920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BAF8632A-0B64-46ED-B08A-7E301C59F303}" type="datetime'''''''9''''''''''''''''''1''4'''''''''''''''''''''''''''''">
                <a:rPr lang="en-US" altLang="en-US" sz="1050">
                  <a:solidFill>
                    <a:schemeClr val="bg1"/>
                  </a:solidFill>
                </a:rPr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914</a:t>
              </a:fld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38" name="Text Placeholder 2">
              <a:extLst>
                <a:ext uri="{FF2B5EF4-FFF2-40B4-BE49-F238E27FC236}">
                  <a16:creationId xmlns:a16="http://schemas.microsoft.com/office/drawing/2014/main" id="{C47E0B99-E934-4CB6-7020-2D4374E17BC0}"/>
                </a:ext>
              </a:extLst>
            </p:cNvPr>
            <p:cNvSpPr txBox="1"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4824743" y="2644765"/>
              <a:ext cx="322179" cy="1920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7140A2D5-5286-4A11-9331-D7FEE48886C3}" type="datetime'''''''''''''''7''''''''''''''8''''''''''''''''''''9'''''''''''">
                <a:rPr lang="en-US" altLang="en-US" sz="1050">
                  <a:solidFill>
                    <a:schemeClr val="bg1"/>
                  </a:solidFill>
                </a:rPr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789</a:t>
              </a:fld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39" name="Text Placeholder 2">
              <a:extLst>
                <a:ext uri="{FF2B5EF4-FFF2-40B4-BE49-F238E27FC236}">
                  <a16:creationId xmlns:a16="http://schemas.microsoft.com/office/drawing/2014/main" id="{02BE6080-2BA6-686B-A139-AB299D800CFA}"/>
                </a:ext>
              </a:extLst>
            </p:cNvPr>
            <p:cNvSpPr txBox="1"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6440397" y="6193491"/>
              <a:ext cx="374552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ADD363D3-FB3D-4C42-BF1A-848CF8F06DDF}" type="datetime'''''''''''''''''2''0''''''''''''2''''''''''''''0'''">
                <a:rPr lang="en-US" altLang="en-US" sz="14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2020</a:t>
              </a:fld>
              <a:endParaRPr lang="en-US" sz="1400" b="1" dirty="0"/>
            </a:p>
          </p:txBody>
        </p:sp>
        <p:sp>
          <p:nvSpPr>
            <p:cNvPr id="40" name="Text Placeholder 2">
              <a:extLst>
                <a:ext uri="{FF2B5EF4-FFF2-40B4-BE49-F238E27FC236}">
                  <a16:creationId xmlns:a16="http://schemas.microsoft.com/office/drawing/2014/main" id="{DDA55669-A7CE-7ADA-F2C4-5940F5038C76}"/>
                </a:ext>
              </a:extLst>
            </p:cNvPr>
            <p:cNvSpPr txBox="1"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4452968" y="2026674"/>
              <a:ext cx="547545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19050" tIns="0" rIns="19050" bIns="0" numCol="1" spcCol="0" rtlCol="0" anchor="b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EB87E61D-E041-45E1-A0F1-24598EF74833}" type="datetime'''''''''''''''''3''0'''''''''''''',''9''''''''''''''2''6'''">
                <a:rPr lang="en-US" altLang="en-US" sz="16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30,926</a:t>
              </a:fld>
              <a:endParaRPr lang="en-US" sz="1600" b="1" dirty="0"/>
            </a:p>
          </p:txBody>
        </p:sp>
        <p:sp>
          <p:nvSpPr>
            <p:cNvPr id="41" name="Text Placeholder 2">
              <a:extLst>
                <a:ext uri="{FF2B5EF4-FFF2-40B4-BE49-F238E27FC236}">
                  <a16:creationId xmlns:a16="http://schemas.microsoft.com/office/drawing/2014/main" id="{090E9B26-4B50-2F78-3398-ACD4FBE90242}"/>
                </a:ext>
              </a:extLst>
            </p:cNvPr>
            <p:cNvSpPr txBox="1"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4532719" y="6193491"/>
              <a:ext cx="374552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5705EA2F-7083-4770-ABCD-47CB4D06C036}" type="datetime'''''''''''''''''''''''''2''''0''''''''''''''''1''9'">
                <a:rPr lang="en-US" altLang="en-US" sz="14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2019</a:t>
              </a:fld>
              <a:endParaRPr lang="en-US" sz="1400" b="1" dirty="0"/>
            </a:p>
          </p:txBody>
        </p:sp>
        <p:sp>
          <p:nvSpPr>
            <p:cNvPr id="42" name="Text Placeholder 2">
              <a:extLst>
                <a:ext uri="{FF2B5EF4-FFF2-40B4-BE49-F238E27FC236}">
                  <a16:creationId xmlns:a16="http://schemas.microsoft.com/office/drawing/2014/main" id="{C5FED1A8-9447-9F0C-B94F-4E35BEA47650}"/>
                </a:ext>
              </a:extLst>
            </p:cNvPr>
            <p:cNvSpPr txBox="1">
              <a:spLocks/>
            </p:cNvSpPr>
            <p:nvPr>
              <p:custDataLst>
                <p:tags r:id="rId65"/>
              </p:custDataLst>
            </p:nvPr>
          </p:nvSpPr>
          <p:spPr bwMode="gray">
            <a:xfrm>
              <a:off x="2526337" y="2309889"/>
              <a:ext cx="547545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19050" tIns="0" rIns="19050" bIns="0" numCol="1" spcCol="0" rtlCol="0" anchor="b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85AA4B3B-9454-404E-9683-73717B5547A0}" type="datetime'''''''''''''''''''''''''2''''''9'''''''',21''0'''">
                <a:rPr lang="en-US" altLang="en-US" sz="16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29,210</a:t>
              </a:fld>
              <a:endParaRPr lang="en-US" sz="1600" b="1" dirty="0"/>
            </a:p>
          </p:txBody>
        </p:sp>
        <p:sp>
          <p:nvSpPr>
            <p:cNvPr id="43" name="Text Placeholder 2">
              <a:extLst>
                <a:ext uri="{FF2B5EF4-FFF2-40B4-BE49-F238E27FC236}">
                  <a16:creationId xmlns:a16="http://schemas.microsoft.com/office/drawing/2014/main" id="{170C8A24-5E48-7092-0068-6B15E11E30D2}"/>
                </a:ext>
              </a:extLst>
            </p:cNvPr>
            <p:cNvSpPr txBox="1"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4294656" y="2571759"/>
              <a:ext cx="322179" cy="1920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3AB635EA-BE58-43F9-990B-CD1F43EF2EBA}" type="datetime'4''5''1'''''''">
                <a:rPr lang="en-US" altLang="en-US" sz="1050">
                  <a:solidFill>
                    <a:schemeClr val="bg1"/>
                  </a:solidFill>
                </a:rPr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451</a:t>
              </a:fld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44" name="Text Placeholder 2">
              <a:extLst>
                <a:ext uri="{FF2B5EF4-FFF2-40B4-BE49-F238E27FC236}">
                  <a16:creationId xmlns:a16="http://schemas.microsoft.com/office/drawing/2014/main" id="{7693D661-94D7-8E2B-CFFF-EFAA91AF5A88}"/>
                </a:ext>
              </a:extLst>
            </p:cNvPr>
            <p:cNvSpPr txBox="1">
              <a:spLocks/>
            </p:cNvSpPr>
            <p:nvPr>
              <p:custDataLst>
                <p:tags r:id="rId67"/>
              </p:custDataLst>
            </p:nvPr>
          </p:nvSpPr>
          <p:spPr bwMode="gray">
            <a:xfrm>
              <a:off x="6342044" y="1954818"/>
              <a:ext cx="547545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19050" tIns="0" rIns="19050" bIns="0" numCol="1" spcCol="0" rtlCol="0" anchor="b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7B195200-EC8E-4E91-8F91-CC00FFE330A9}" type="datetime'''''3''''''''0'',''''''''''''''''''8''''''3''''6'">
                <a:rPr lang="en-US" altLang="en-US" sz="16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30,836</a:t>
              </a:fld>
              <a:endParaRPr lang="en-US" sz="1600" b="1" dirty="0"/>
            </a:p>
          </p:txBody>
        </p:sp>
        <p:sp>
          <p:nvSpPr>
            <p:cNvPr id="45" name="Text Placeholder 2">
              <a:extLst>
                <a:ext uri="{FF2B5EF4-FFF2-40B4-BE49-F238E27FC236}">
                  <a16:creationId xmlns:a16="http://schemas.microsoft.com/office/drawing/2014/main" id="{DEA93028-EE38-CDD1-C4B2-E94E02F8568C}"/>
                </a:ext>
              </a:extLst>
            </p:cNvPr>
            <p:cNvSpPr txBox="1"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5272301" y="2094045"/>
              <a:ext cx="231715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19050" tIns="0" rIns="19050" bIns="0" numCol="1" spcCol="0" rtlCol="0" anchor="ctr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fld id="{0CDCA630-C6C0-4691-AB49-3CFA77370262}" type="datetime'''''''''''''1''''''''''''''''''''''''''''''''''6'''">
                <a:rPr lang="en-US" altLang="en-US" sz="1050"/>
                <a:pPr marL="0" indent="0">
                  <a:spcBef>
                    <a:spcPct val="0"/>
                  </a:spcBef>
                  <a:spcAft>
                    <a:spcPct val="0"/>
                  </a:spcAft>
                  <a:buNone/>
                </a:pPr>
                <a:t>16</a:t>
              </a:fld>
              <a:endParaRPr lang="en-US" sz="1050" dirty="0"/>
            </a:p>
          </p:txBody>
        </p:sp>
        <p:sp>
          <p:nvSpPr>
            <p:cNvPr id="46" name="Text Placeholder 2">
              <a:extLst>
                <a:ext uri="{FF2B5EF4-FFF2-40B4-BE49-F238E27FC236}">
                  <a16:creationId xmlns:a16="http://schemas.microsoft.com/office/drawing/2014/main" id="{E6D0B18B-C11D-CCC3-77A5-3533B34792E2}"/>
                </a:ext>
              </a:extLst>
            </p:cNvPr>
            <p:cNvSpPr txBox="1"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8348075" y="6193491"/>
              <a:ext cx="374552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30DB7725-B0D4-4366-95ED-52CB31E05ABA}" type="datetime'''''''''''''''''''''''''''''''''2''''''02''''''''''''''1'''">
                <a:rPr lang="en-US" altLang="en-US" sz="14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2021</a:t>
              </a:fld>
              <a:endParaRPr lang="en-US" sz="1400" b="1" dirty="0"/>
            </a:p>
          </p:txBody>
        </p:sp>
        <p:sp>
          <p:nvSpPr>
            <p:cNvPr id="47" name="Text Placeholder 2">
              <a:extLst>
                <a:ext uri="{FF2B5EF4-FFF2-40B4-BE49-F238E27FC236}">
                  <a16:creationId xmlns:a16="http://schemas.microsoft.com/office/drawing/2014/main" id="{1E49107F-69F1-AA93-A350-3F616BE3BFBB}"/>
                </a:ext>
              </a:extLst>
            </p:cNvPr>
            <p:cNvSpPr txBox="1"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10255753" y="6193491"/>
              <a:ext cx="374552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DF637665-BE75-4D14-9897-E7010646042C}" type="datetime'''2''''''''0''''''''''''''''''''''''2''''''''''''''2'''">
                <a:rPr lang="en-US" altLang="en-US" sz="14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2022</a:t>
              </a:fld>
              <a:endParaRPr lang="en-US" sz="1400" b="1" dirty="0"/>
            </a:p>
          </p:txBody>
        </p:sp>
        <p:sp>
          <p:nvSpPr>
            <p:cNvPr id="48" name="Text Placeholder 2">
              <a:extLst>
                <a:ext uri="{FF2B5EF4-FFF2-40B4-BE49-F238E27FC236}">
                  <a16:creationId xmlns:a16="http://schemas.microsoft.com/office/drawing/2014/main" id="{2F5BC36D-D2EE-6E78-8DE4-73579B60017C}"/>
                </a:ext>
              </a:extLst>
            </p:cNvPr>
            <p:cNvSpPr txBox="1"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2625041" y="6193491"/>
              <a:ext cx="374552" cy="1920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txBody>
            <a:bodyPr vert="horz" wrap="none" lIns="0" tIns="0" rIns="0" bIns="0" numCol="1" spcCol="0" rtlCol="0" anchor="t" anchorCtr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fld id="{F30874E0-70E4-465C-B9B3-116A8FA1B723}" type="datetime'''''''''''''''''''''''''''2''''''''''''''''''''''0''''''18'''">
                <a:rPr lang="en-US" altLang="en-US" sz="1400" b="1"/>
                <a:pPr marL="0" indent="0" algn="ctr">
                  <a:spcBef>
                    <a:spcPct val="0"/>
                  </a:spcBef>
                  <a:spcAft>
                    <a:spcPct val="0"/>
                  </a:spcAft>
                  <a:buNone/>
                </a:pPr>
                <a:t>2018</a:t>
              </a:fld>
              <a:endParaRPr lang="en-US" sz="1400" b="1" dirty="0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E3F4815-AF98-096E-0900-0699B627A0A8}"/>
                </a:ext>
              </a:extLst>
            </p:cNvPr>
            <p:cNvSpPr txBox="1"/>
            <p:nvPr/>
          </p:nvSpPr>
          <p:spPr>
            <a:xfrm>
              <a:off x="9808085" y="6366579"/>
              <a:ext cx="246244" cy="3384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sz="1050" dirty="0"/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95E645E9-5823-6CBC-242E-1BE8373840DE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527093" y="5147143"/>
            <a:ext cx="188120" cy="11788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6FCB354-4253-8758-1EF9-B6EC03F2608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527093" y="4766144"/>
            <a:ext cx="188120" cy="117889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6431CA6B-9C99-CF48-33E8-90CD9F889F1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27093" y="4575643"/>
            <a:ext cx="188120" cy="117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4987D18-2213-7EBC-C6B5-E09C525C48B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27093" y="4385143"/>
            <a:ext cx="188120" cy="11788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F0B6610-DBAA-4979-5A2F-E2576695F3C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27093" y="4004143"/>
            <a:ext cx="188120" cy="11788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BEB82EAC-A776-BEF5-9A93-DDC763599B9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27093" y="3432644"/>
            <a:ext cx="188120" cy="117889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0E9B855-DC46-E05B-9377-71E91B8D35D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27093" y="3242143"/>
            <a:ext cx="188120" cy="117889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730E895-D20D-C047-9667-F951D867BF5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27093" y="3051643"/>
            <a:ext cx="188120" cy="117889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350302BA-5129-20A7-0B87-ADF716579EB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27093" y="2861143"/>
            <a:ext cx="188120" cy="117889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A64D6ED-80F6-F295-AB46-DC48FB0DC98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27093" y="3623144"/>
            <a:ext cx="188120" cy="117889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E8BE970-5BC1-E5AD-2DC0-A2667100480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27093" y="3813643"/>
            <a:ext cx="188120" cy="117889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2E72DD-139E-5FCC-F7DF-9BC90B64332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27093" y="4194643"/>
            <a:ext cx="188120" cy="117889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248456F-7148-6BDA-13D3-49BFF92FA5A5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27093" y="4956644"/>
            <a:ext cx="188120" cy="117889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>
              <a:latin typeface="+mj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2055561F-2030-A2A4-862A-46A09611F685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753310" y="3631477"/>
            <a:ext cx="261939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87E89C-DAAE-4D77-A280-0E0088547DCC}" type="datetime'AB''''''''D'''''''' ''''''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BD </a:t>
            </a:fld>
            <a:endParaRPr lang="en-US" sz="1050" dirty="0">
              <a:latin typeface="+mj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3B5A320-252C-728C-F742-F77046786D81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53311" y="4012477"/>
            <a:ext cx="275037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E839A7-544F-4800-BB1F-63DB686784E4}" type="datetime'''''''''''''P''''''A''''''''T''''''''H''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ATH</a:t>
            </a:fld>
            <a:endParaRPr lang="en-US" sz="1050" dirty="0">
              <a:latin typeface="+mj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B33ACCEE-B600-011A-D06A-2F9141D7BF88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53312" y="5155477"/>
            <a:ext cx="147638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4A5BEC-4B44-4672-B3BF-D682BCFBC57B}" type="datetime'''''''''''''''''''''''''''''I''''''''''''''''''M''''''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M</a:t>
            </a:fld>
            <a:endParaRPr lang="en-US" sz="1050" dirty="0">
              <a:latin typeface="+mj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49084669-840A-D6FD-165D-3440E234D164}"/>
              </a:ext>
            </a:extLst>
          </p:cNvPr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753310" y="3440977"/>
            <a:ext cx="344093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27FEFD-15DE-4EA1-AD77-CDD481471136}" type="datetime'''''''''''''''''''PS''''''''''''''Y''C''''''''H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SYCH</a:t>
            </a:fld>
            <a:endParaRPr lang="en-US" sz="1050" dirty="0">
              <a:latin typeface="+mj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A103806-27BC-D05F-BC4C-52908B29A02C}"/>
              </a:ext>
            </a:extLst>
          </p:cNvPr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53311" y="3821977"/>
            <a:ext cx="303612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9249FF-D5BC-49F5-B235-13C0138D2725}" type="datetime'''''''''''''C''A''R''''''''''''''''''''''''''''''D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ARD</a:t>
            </a:fld>
            <a:endParaRPr lang="en-US" sz="1050" dirty="0">
              <a:latin typeface="+mj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268F7453-A7CA-4578-904E-575D10B4EBC7}"/>
              </a:ext>
            </a:extLst>
          </p:cNvPr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753312" y="4583977"/>
            <a:ext cx="198836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7538DE-7F15-45F4-BA35-31E8BE7C6E60}" type="datetime'''''''''''''''''''P''''''''''P''''''''S''''''''''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PS</a:t>
            </a:fld>
            <a:endParaRPr lang="en-US" sz="1050" dirty="0">
              <a:latin typeface="+mj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B624DF14-2EDD-9B62-D114-86AE37BA3E31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753310" y="2869477"/>
            <a:ext cx="296467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443205-07D4-43FD-BAC2-E1216F10F7CD}" type="datetime'C''''''''''''AD''''''''''E''''''''''''''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ADE</a:t>
            </a:fld>
            <a:endParaRPr lang="en-US" sz="1050" dirty="0">
              <a:latin typeface="+mj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F826159F-A071-2D17-1711-5DAF8FDF34D0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53310" y="4964977"/>
            <a:ext cx="261939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6CDEF3-9231-4CF0-9115-6C407AD8560A}" type="datetime'''M''''''''M''''''''I''''''''''''''''''''''''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MI</a:t>
            </a:fld>
            <a:endParaRPr lang="en-US" sz="1050" dirty="0">
              <a:latin typeface="+mj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1A2EBEFD-563C-F9BC-B3B3-1F09DF503BB8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753309" y="4393477"/>
            <a:ext cx="277418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A2EAE2-CE3F-40D1-873B-9F5512311822}" type="datetime'''''''''P''''''''''''''''E''''''''''''''''D''''''S''''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EDS</a:t>
            </a:fld>
            <a:endParaRPr lang="en-US" sz="1050" dirty="0">
              <a:latin typeface="+mj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3B3D1ABC-21CB-64F8-881B-C1F575A2E2C7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753311" y="3059977"/>
            <a:ext cx="371476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A5856E-FA52-4482-BEB4-93562CDC6390}" type="datetime'''''''''''O''''''T''H''''''''''''''''''''''''''''E''''R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HER</a:t>
            </a:fld>
            <a:endParaRPr lang="en-US" sz="1050" dirty="0">
              <a:latin typeface="+mj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73AB336F-841E-08EC-DD19-73EEE81CBDDD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753309" y="3250477"/>
            <a:ext cx="305993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6DD8ED-2D97-4C43-9AB6-0851C8025FC5}" type="datetime'''''''''''''''OP''''''''''''''T''''''''''''''''''''''''''''H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PTH</a:t>
            </a:fld>
            <a:endParaRPr lang="en-US" sz="1050" dirty="0">
              <a:latin typeface="+mj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BC115FE-D7B0-11DB-5C45-A5CF4F933056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753311" y="4774477"/>
            <a:ext cx="259558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67CD5A-6FEE-4D20-8BB0-2ABF42C039CF}" type="datetime'''B''''''''''''''''''''''''M''B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MB</a:t>
            </a:fld>
            <a:endParaRPr lang="en-US" sz="1050" dirty="0">
              <a:latin typeface="+mj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D1CDAAC1-4713-8A01-F114-3B7DAC597501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753312" y="4202977"/>
            <a:ext cx="245270" cy="12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CA5CF2-055A-4D32-812A-3DA7A940C98B}" type="datetime'''''''''''''''''''''''''''''''''''''''''F''CM'''''">
              <a:rPr lang="en-US" altLang="en-US" sz="1050">
                <a:latin typeface="+mj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CM</a:t>
            </a:fld>
            <a:endParaRPr lang="en-US" sz="1050" dirty="0">
              <a:latin typeface="+mj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D683D378-B53D-3B15-37AD-A999A2EB799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7247938" y="2393793"/>
            <a:ext cx="410766" cy="14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9050" tIns="0" rIns="1905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/>
              <a:t>33,148</a:t>
            </a:r>
            <a:endParaRPr lang="en-US" sz="1600" b="1" dirty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824C4590-BAAE-9670-9B5E-39276402CA72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auto">
          <a:xfrm flipV="1">
            <a:off x="1644262" y="1705610"/>
            <a:ext cx="5942408" cy="24824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C4A43DE5-DA4E-6267-D5D6-B1E2AAD0D960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264827" y="1732120"/>
            <a:ext cx="328613" cy="2047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050" b="1" dirty="0"/>
              <a:t>+3%</a:t>
            </a:r>
            <a:endParaRPr lang="en-US" sz="1050" b="1" dirty="0"/>
          </a:p>
        </p:txBody>
      </p:sp>
    </p:spTree>
    <p:extLst>
      <p:ext uri="{BB962C8B-B14F-4D97-AF65-F5344CB8AC3E}">
        <p14:creationId xmlns:p14="http://schemas.microsoft.com/office/powerpoint/2010/main" val="5111243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UMMARY - SURVEY</a:t>
            </a:r>
            <a:br>
              <a:rPr lang="en-US" sz="2400" dirty="0"/>
            </a:br>
            <a:r>
              <a:rPr lang="en-US" sz="2400" dirty="0"/>
              <a:t>Five-Year plan - Strategic Goals for Research S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2DD21A3-89A9-C7D8-7CFB-E0E4DDA919F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09" t="54811" r="27549" b="8867"/>
          <a:stretch/>
        </p:blipFill>
        <p:spPr>
          <a:xfrm>
            <a:off x="1687580" y="3670824"/>
            <a:ext cx="5403460" cy="219731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91E09D7-6896-7610-EA90-DA32993B4E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09" t="15793" r="27549" b="55244"/>
          <a:stretch/>
        </p:blipFill>
        <p:spPr>
          <a:xfrm>
            <a:off x="1687580" y="1918644"/>
            <a:ext cx="5403460" cy="17521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1B54CA5-B407-1267-F81E-AE0976C1A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538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UMMARY - SURVEY</a:t>
            </a:r>
            <a:br>
              <a:rPr lang="en-US" sz="2400" dirty="0"/>
            </a:br>
            <a:r>
              <a:rPr lang="en-US" sz="2400" dirty="0"/>
              <a:t>Five-Year plan - Strategic Goals for Research S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6B191FA-9F58-5F82-2DCD-AD0DC8F621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09" t="15793" r="27549" b="69696"/>
          <a:stretch/>
        </p:blipFill>
        <p:spPr>
          <a:xfrm>
            <a:off x="1703205" y="2287271"/>
            <a:ext cx="5951801" cy="96695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ADE7D7D-E240-F51D-DE84-4CDEC8A16E4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09" t="44757" r="27549" b="44239"/>
          <a:stretch/>
        </p:blipFill>
        <p:spPr>
          <a:xfrm>
            <a:off x="1703205" y="3311008"/>
            <a:ext cx="5951803" cy="73319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B062A1F-E1D9-378B-3455-609292B309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816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UMMARY - SURVEY</a:t>
            </a:r>
            <a:br>
              <a:rPr lang="en-US" sz="2400" dirty="0"/>
            </a:br>
            <a:r>
              <a:rPr lang="en-US" sz="2400" dirty="0"/>
              <a:t>Five-Year plan - Strategic Goals for Research S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4747FF5-9E4C-FC5A-315D-91B40CDA8E5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60" t="13981" r="31990" b="58770"/>
          <a:stretch/>
        </p:blipFill>
        <p:spPr>
          <a:xfrm>
            <a:off x="1466303" y="2574525"/>
            <a:ext cx="6211393" cy="228583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F552338-C8E1-204E-82D1-953CF2B4BA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9332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UMMARY - SURVEY</a:t>
            </a:r>
            <a:br>
              <a:rPr lang="en-US" sz="2400" dirty="0"/>
            </a:br>
            <a:r>
              <a:rPr lang="en-US" sz="2400" dirty="0"/>
              <a:t>Five-Year plan - Strategic Goals for Research S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7668695-2966-6F77-1420-5CA4A813BAC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60" t="40726" r="31990" b="33482"/>
          <a:stretch/>
        </p:blipFill>
        <p:spPr>
          <a:xfrm>
            <a:off x="1669002" y="2900824"/>
            <a:ext cx="5604913" cy="195233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EE8DC1-F3A6-30F1-8039-3AF9ABF590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60" t="13981" r="31990" b="78834"/>
          <a:stretch/>
        </p:blipFill>
        <p:spPr>
          <a:xfrm>
            <a:off x="1669002" y="2305419"/>
            <a:ext cx="5604913" cy="5438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21CE1D3-9F33-3AFD-BF34-4F6603E8DF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15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SUMMARY - SURVEY</a:t>
            </a:r>
            <a:br>
              <a:rPr lang="en-US" sz="2400" dirty="0"/>
            </a:br>
            <a:r>
              <a:rPr lang="en-US" sz="2400" dirty="0"/>
              <a:t>Five-Year plan - Strategic Goals for Research S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5F587CE-7145-F9C1-CC1A-B1AAF42A94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60" t="65481" r="31990" b="5501"/>
          <a:stretch/>
        </p:blipFill>
        <p:spPr>
          <a:xfrm>
            <a:off x="1615736" y="3046084"/>
            <a:ext cx="5999417" cy="235107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C3C12AD-533C-B17C-42FB-AE686254C0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60" t="13981" r="31990" b="78834"/>
          <a:stretch/>
        </p:blipFill>
        <p:spPr>
          <a:xfrm>
            <a:off x="1615739" y="2463971"/>
            <a:ext cx="5999414" cy="5821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1697F97-21FF-21BF-8453-E2D9C51FC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6654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CF53C01-0AC0-184F-9196-F3776DD38B0E}"/>
              </a:ext>
            </a:extLst>
          </p:cNvPr>
          <p:cNvSpPr/>
          <p:nvPr/>
        </p:nvSpPr>
        <p:spPr>
          <a:xfrm>
            <a:off x="0" y="409903"/>
            <a:ext cx="9144000" cy="966952"/>
          </a:xfrm>
          <a:prstGeom prst="rect">
            <a:avLst/>
          </a:prstGeom>
          <a:gradFill>
            <a:gsLst>
              <a:gs pos="24000">
                <a:srgbClr val="053EA5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 dirty="0"/>
              <a:t>Draft Strategic Goals for Research - SOM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1328AB0-2A0E-0CF2-5BE7-92A3B297EE1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302" t="19288" r="19829" b="5760"/>
          <a:stretch/>
        </p:blipFill>
        <p:spPr>
          <a:xfrm>
            <a:off x="1855433" y="1421242"/>
            <a:ext cx="5221444" cy="525776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EC64AF4-DBCC-C2AB-133A-FDEA200DC012}"/>
              </a:ext>
            </a:extLst>
          </p:cNvPr>
          <p:cNvSpPr/>
          <p:nvPr/>
        </p:nvSpPr>
        <p:spPr>
          <a:xfrm>
            <a:off x="2104009" y="2857171"/>
            <a:ext cx="4634144" cy="763481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9B269DD-BF4F-3C26-5108-7452AEAB7CAD}"/>
              </a:ext>
            </a:extLst>
          </p:cNvPr>
          <p:cNvSpPr txBox="1"/>
          <p:nvPr/>
        </p:nvSpPr>
        <p:spPr>
          <a:xfrm>
            <a:off x="7813723" y="6540437"/>
            <a:ext cx="12054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+mj-lt"/>
              </a:rPr>
              <a:t>v. 09/22/2022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C0DA36-B9DF-A483-EA03-1BF0B58546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0250" y="507561"/>
            <a:ext cx="469961" cy="70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368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4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jtzLhf.oiPg5CLCZf6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V8iRXG1l9R7AcPtLy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49LG3N8dDDH46Zztep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g3EdjIkMGj2CMlzczT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TMFF5MjwhMg9BK7Z1I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ySL8t.GYjDrFKoq8A2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jBQSAprma139yc_JTM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reOdSAWDitHlRi4y0b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9zRrrrMsEw29euKKlU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e9iVZwZQITg1J2hEb8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uoc2NS3PBp5VQo9pC5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5HeuGogU3h9WkYzbruF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uxEhKklU113oYqwNgzM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3RIw4GZq8RBNDAQgXi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268CdbhLSqddzsMsYR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vqxkXXOX9Ck2PHbkEA7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NuOWNW_ZKxrJH3o2g6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bhUUGeMXemIBF8dptw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gZIvn_sLyebT5xPb77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NLGY0v.1MFlzQ5s0AG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dhZUrlWIo_D6R7CFqO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ICA3AMbEmmEK_TheZj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1SsHdVbDcbXjqdreyHE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XqCVcScZr6HmH_8Ah7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lbO1HDwxZlTN2BtQ2Mj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04Cc37z3KBtHPkvFVf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Bcp3uZ7UajMKcpcEAp1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1hUtSWpP0abySLtePi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97hVuJnXFmKCVGfYsO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ZH1t4gS.tQWg5mFFME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JElP6qsyk9jN51qpRG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x2O7awgOU7YWocXvpN9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YGYMAFjcs9G3P7z_1t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1Pv1OmujrzPSYg0ey3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ILgZGWMJ8ZNsEUuobb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6hNrhjsDHKRlskgUys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IitJ4l61LjZjgTUF0.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u8FnZH5IpIqQ3qx6UdV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EomAQjQYxxkRgBg1BHw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nRGU5Ql1fIGIlphDf40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cX6_OMXrTw6AGdSz.D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mIvPF29kypAvbH5xzI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nbiiiD4aL9lu0kZFbu.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.FNOkPHzcsa0UB_yYck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r3wAFg4yiyW6mQ_8UF2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Xs4bjilH1hqB7S1Wu_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pMlCNi2RpieyaJZcc8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Pl4j6HbBkOLykYu47O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NLGY0v.1MFlzQ5s0AGK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jNK8rttWY9sh3ioZ7hZ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9kr4UcyEYMlH.Qdz8M.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m5aOcYOqKNVUyPFV7Dq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zhgx1qJ9APTC37eNqd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wV6TD5bRVC6Cv6AVOKs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..0ylUKPl6kFDnwsM8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B4YP1TKDUC1uzUidfy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.l0H1ku4iN0ALpxyCe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hYdoq96vrrEVK6wY5j2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bl4.dHX6.pPx58Dhlx8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iZyd1h537ChNGQZTiG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U5J4GOUZLJrO1e4LJaS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ruXIote..66i4zhz_Y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IGb.g9VlWfMpamajso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6oItieMJbUR5akQko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ESniIUyasGKGFsXUhCG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W8G2W0Fw7r39ZLr6hKa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4AAyH_pV6vAhdHy3.nv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9BHeIXteJ4M7m4By2wu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G2edjvp7tNH9e4fkXyF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gi3C13pJp3_9E8V.bE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dzchceSg84yAhyp.xHl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LU-SE_5YStrategicPlanSessionNov22 (1)" id="{F1885DC9-DB4F-D54E-AE86-184D8C32F3E2}" vid="{C11674F3-A301-F144-8716-4CF70E7AC4B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8F02EEED57384EA9DD9D89F86D60D5" ma:contentTypeVersion="6" ma:contentTypeDescription="Create a new document." ma:contentTypeScope="" ma:versionID="aa0cfc155f044b1f34e566203340ba45">
  <xsd:schema xmlns:xsd="http://www.w3.org/2001/XMLSchema" xmlns:xs="http://www.w3.org/2001/XMLSchema" xmlns:p="http://schemas.microsoft.com/office/2006/metadata/properties" xmlns:ns2="833d9578-49f4-4837-956f-4c54fd362fa4" xmlns:ns3="18f6e5c6-d7d8-4c26-a997-dcbd0d76ab98" targetNamespace="http://schemas.microsoft.com/office/2006/metadata/properties" ma:root="true" ma:fieldsID="024aad513daf0aad31e76609fade0b6a" ns2:_="" ns3:_="">
    <xsd:import namespace="833d9578-49f4-4837-956f-4c54fd362fa4"/>
    <xsd:import namespace="18f6e5c6-d7d8-4c26-a997-dcbd0d76ab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3d9578-49f4-4837-956f-4c54fd362f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f6e5c6-d7d8-4c26-a997-dcbd0d76ab9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00D5A3E-08F5-44EC-A420-EC662F13BAFC}"/>
</file>

<file path=customXml/itemProps2.xml><?xml version="1.0" encoding="utf-8"?>
<ds:datastoreItem xmlns:ds="http://schemas.openxmlformats.org/officeDocument/2006/customXml" ds:itemID="{CA93CAD4-6BFB-48B3-B886-2A52F4C9FB70}"/>
</file>

<file path=customXml/itemProps3.xml><?xml version="1.0" encoding="utf-8"?>
<ds:datastoreItem xmlns:ds="http://schemas.openxmlformats.org/officeDocument/2006/customXml" ds:itemID="{EE308C1F-B1C0-4A58-A12C-A36889F0FAC6}"/>
</file>

<file path=docProps/app.xml><?xml version="1.0" encoding="utf-8"?>
<Properties xmlns="http://schemas.openxmlformats.org/officeDocument/2006/extended-properties" xmlns:vt="http://schemas.openxmlformats.org/officeDocument/2006/docPropsVTypes">
  <Template>SLU_5YStrategicPlanTemplateNov22  (1)</Template>
  <TotalTime>115</TotalTime>
  <Words>525</Words>
  <Application>Microsoft Office PowerPoint</Application>
  <PresentationFormat>On-screen Show (4:3)</PresentationFormat>
  <Paragraphs>170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Arial Narrow</vt:lpstr>
      <vt:lpstr>Calibri</vt:lpstr>
      <vt:lpstr>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riana Montano</dc:creator>
  <cp:lastModifiedBy>Adriana Montano</cp:lastModifiedBy>
  <cp:revision>20</cp:revision>
  <cp:lastPrinted>2021-08-26T17:36:19Z</cp:lastPrinted>
  <dcterms:created xsi:type="dcterms:W3CDTF">2022-10-31T22:46:18Z</dcterms:created>
  <dcterms:modified xsi:type="dcterms:W3CDTF">2022-11-01T13:49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8F02EEED57384EA9DD9D89F86D60D5</vt:lpwstr>
  </property>
</Properties>
</file>